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glb" ContentType="model/gltf.binary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sldIdLst>
    <p:sldId id="374" r:id="rId5"/>
    <p:sldId id="263" r:id="rId6"/>
    <p:sldId id="262" r:id="rId7"/>
    <p:sldId id="256" r:id="rId8"/>
    <p:sldId id="346" r:id="rId9"/>
    <p:sldId id="370" r:id="rId10"/>
    <p:sldId id="373" r:id="rId11"/>
    <p:sldId id="257" r:id="rId12"/>
    <p:sldId id="367" r:id="rId13"/>
    <p:sldId id="259" r:id="rId14"/>
    <p:sldId id="260" r:id="rId15"/>
    <p:sldId id="347" r:id="rId16"/>
    <p:sldId id="375" r:id="rId17"/>
    <p:sldId id="266" r:id="rId18"/>
    <p:sldId id="267" r:id="rId19"/>
    <p:sldId id="371" r:id="rId20"/>
    <p:sldId id="376" r:id="rId21"/>
    <p:sldId id="366" r:id="rId22"/>
    <p:sldId id="378" r:id="rId23"/>
    <p:sldId id="379" r:id="rId24"/>
    <p:sldId id="380" r:id="rId25"/>
    <p:sldId id="377" r:id="rId2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16A1B"/>
    <a:srgbClr val="451C07"/>
    <a:srgbClr val="0F6418"/>
    <a:srgbClr val="269AF2"/>
    <a:srgbClr val="C04F15"/>
    <a:srgbClr val="AEAEAE"/>
    <a:srgbClr val="AC7057"/>
    <a:srgbClr val="6CB16F"/>
    <a:srgbClr val="D9F2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59" autoAdjust="0"/>
    <p:restoredTop sz="94660"/>
  </p:normalViewPr>
  <p:slideViewPr>
    <p:cSldViewPr snapToGrid="0">
      <p:cViewPr>
        <p:scale>
          <a:sx n="66" d="100"/>
          <a:sy n="66" d="100"/>
        </p:scale>
        <p:origin x="557" y="22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425856-8EFB-413A-B87C-1D2D4E94A1F0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8D7367-AA7C-4BB5-B078-0386ABCDE57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340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ille sous l’ea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8D7367-AA7C-4BB5-B078-0386ABCDE572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43081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A Metz, selon nos estimations basées sur l’étude des sols, des enjeux socio économiques et politiques,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8D7367-AA7C-4BB5-B078-0386ABCDE572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8949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A Metz, selon nos estimations basées sur l’étude des sols, des enjeux socio économiques et politiques,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8D7367-AA7C-4BB5-B078-0386ABCDE572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502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Nous vous présentons </a:t>
            </a:r>
            <a:r>
              <a:rPr lang="fr-FR" i="1" dirty="0"/>
              <a:t>Cockpit</a:t>
            </a:r>
            <a:r>
              <a:rPr lang="fr-FR" dirty="0"/>
              <a:t>, l’application intelligente qui réinvente votre façon de voyager : découvrez de nouvelles destinations, économisez sur votre voyage et planifiez votre itinéraire en toute simplicité."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F7DCE-9061-4684-9F7A-7A15309E19FE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4853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Nous sommes heureux de vous présenter </a:t>
            </a:r>
            <a:r>
              <a:rPr lang="fr-FR" i="1" dirty="0"/>
              <a:t>Cockpit</a:t>
            </a:r>
            <a:r>
              <a:rPr lang="fr-FR" dirty="0"/>
              <a:t>, la seule application intelligente qui réinvente votre façon de voyager : découvrez de nouvelles destinations, économisez sur votre voyage et planifiez votre itinéraire en toute </a:t>
            </a:r>
            <a:r>
              <a:rPr lang="fr-FR"/>
              <a:t>simplicité."</a:t>
            </a:r>
            <a:endParaRPr lang="fr-FR" dirty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F7DCE-9061-4684-9F7A-7A15309E19FE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30373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ED309F4-977B-4074-86D9-5878255C2DF9}" type="slidenum">
              <a:rPr lang="en-US" smtClean="0">
                <a:latin typeface="TKTypeMedium"/>
              </a:rPr>
              <a:pPr/>
              <a:t>20</a:t>
            </a:fld>
            <a:endParaRPr lang="en-US" dirty="0">
              <a:latin typeface="TKTypeMedium"/>
            </a:endParaRPr>
          </a:p>
        </p:txBody>
      </p:sp>
      <p:sp>
        <p:nvSpPr>
          <p:cNvPr id="4812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7388"/>
            <a:ext cx="6096000" cy="3429000"/>
          </a:xfrm>
          <a:ln/>
        </p:spPr>
      </p:sp>
      <p:sp>
        <p:nvSpPr>
          <p:cNvPr id="4812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992" y="4344358"/>
            <a:ext cx="5106695" cy="4111750"/>
          </a:xfrm>
        </p:spPr>
        <p:txBody>
          <a:bodyPr/>
          <a:lstStyle/>
          <a:p>
            <a:endParaRPr lang="en-US" dirty="0">
              <a:latin typeface="TKTypeMedium"/>
            </a:endParaRPr>
          </a:p>
        </p:txBody>
      </p:sp>
    </p:spTree>
    <p:extLst>
      <p:ext uri="{BB962C8B-B14F-4D97-AF65-F5344CB8AC3E}">
        <p14:creationId xmlns:p14="http://schemas.microsoft.com/office/powerpoint/2010/main" val="1306964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C7E28-8390-ABD5-1E74-7FCCDB014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EF3F366-BE2D-439B-E0E6-06608EC8C3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BC54AA-9F06-1916-F7CE-BDD63D39F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BB2469-82D9-A661-51EC-A79A72924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027C1-A059-12E1-B952-D31B264CC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569455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AC0B0C-D38F-95C3-5C13-79E0BFBDD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EFF291D-A925-6A4F-3E37-6C3EEE208F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2143A4-BC0A-2739-598C-42A664568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A2A6C8-56B7-5F4E-5303-60BAB2FC3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AF8A14-4D01-B9D2-4244-DE8B78B5D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5714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95DBE46-92B1-BB81-1B0A-AAE2C59AF0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4CF3C1-41CA-BCB2-902A-D1275669E5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89A967-4936-D045-4E22-8E4A7B3CEF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81317-09A5-8D60-BBC3-C6F680476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D9732-823B-3A42-EB7B-515E5E80F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40903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D58F9-9709-2A49-8E26-1E6569279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276"/>
            <a:ext cx="10515600" cy="365125"/>
          </a:xfrm>
        </p:spPr>
        <p:txBody>
          <a:bodyPr anchor="ctr">
            <a:normAutofit/>
          </a:bodyPr>
          <a:lstStyle>
            <a:lvl1pPr algn="l">
              <a:defRPr sz="24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8C2316-BC66-386C-2FAB-59DD13D15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0F5851-B28D-495C-8C4D-A56BD7F5C1B3}" type="datetime1">
              <a:rPr lang="fr-FR" smtClean="0"/>
              <a:t>17/05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FCF99E-DE1F-A7E4-E08D-4E232BC67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A7077A-F5AE-CE60-1147-FB9018F6B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C7453-68A9-4BFA-BA49-EC3B00AC633A}" type="slidenum">
              <a:rPr lang="fr-FR" smtClean="0"/>
              <a:t>‹#›</a:t>
            </a:fld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5C71DFB-A677-9FED-7E78-B4C7B7C355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53401"/>
            <a:ext cx="8692004" cy="5377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1" kern="1200" dirty="0" smtClean="0">
                <a:solidFill>
                  <a:srgbClr val="116A1B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b="0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sub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228995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522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16401379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35477C-DDFD-9B3D-5C47-5FA95CAB7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0FE92-4E5A-F880-55CD-49AC25BAF7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BE97C5-7E03-381D-F489-6DC577FEB3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6BA794-7A98-E082-712A-E63251C75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2C7AC0-FFFB-9428-0E25-0681AD99C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90963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266353-C7BF-8EA8-4EFA-A8F909D89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F433A0-2421-E069-E6BC-E0F2681A5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DC8D51-0114-E7AE-94C9-CA9C0CCF3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B136E4-2BE5-21E6-A837-7B7F76E7B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09935-2D88-3D67-79BB-32ABF40B1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72868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1FD78-D6EC-C1AA-85F3-12D69EB6E4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15C193-08E0-1146-2888-C9DFA50DC3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776218-E2F9-77D4-BBE5-74BF82AB6E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940DFC-1B77-8AC8-6BB7-D4F5E0AD2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42FFA4-1D25-5119-C269-9340E5677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A1F87E-6F9F-0383-5B43-F4B962258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26763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9071C-F6C9-FD2A-2E36-2C43B7A8B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AF9E79-BFC1-E1B4-9784-4FF52EFAD7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F88B33-6E9E-FDB1-5BE4-EC85BCCF63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406BAF-652E-B17B-2C7E-14251522ED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E15306C-B44B-5CB7-9EEA-C0C12F042A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A9329D-B6BB-2077-0BCA-777222A73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E8D7989-A6C5-8340-A09D-50E349759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38FC027-EBD5-E5B4-FDCD-B212431C2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57801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93394-7C49-8474-0B5D-2FE9EF469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750F43-C2BE-8815-20F7-4A45AFE0D5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B73439-9202-A7A4-8C90-5FDBAFFC9B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3C1AC7-66C8-894C-5FE4-6EF15969E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738770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0D74DB3-E382-EB81-0B19-E84DA001C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3FE90C-7FA9-A30C-04F2-8FEA2E3C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3B86D0-8897-4C3D-FBC3-53E96C94F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55927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A8861C-0BD9-6CE1-0720-1CBEA3482F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239CBB-20EF-CCC6-5BBB-BF2FDF90B6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FC8ED4-3073-1BA7-8BE3-B3226EF8C1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52CF7A-2D3F-3064-8B22-273EAE093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4FF0CC-BA69-69C5-698B-BA19502B0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C76211-CFDB-3D5A-65AA-84D9A1F6F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508715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3E0EB-D6B6-73B6-3B58-403D83FA1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C7310F-EDC6-5E27-9111-244215F3BE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9FD66F-74FC-EB83-CCC3-D253E40D1B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917C96-1262-11EC-A87F-B4865142BB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73F96F-A15A-FB1C-96F7-BE21045344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EDF231-E770-E22A-18DA-B892819AA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57469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90C6C0F-0ECA-2F83-6A0F-696DE083EB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A0C1F8-0721-4AFD-A039-7C5BADECA0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A3BB50-3294-40BD-62F4-7A53E6D290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E24620-DCD0-4636-889C-E60BA2FFBBBC}" type="datetimeFigureOut">
              <a:rPr lang="fr-FR" smtClean="0"/>
              <a:t>17/05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B27DD-88C8-9CE7-557B-8196BAA68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637B20-EA3A-46F4-9123-AF617880AF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6E33604-B00D-461A-BB3B-BBC689285A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4497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microsoft.com/office/2017/06/relationships/model3d" Target="../media/model3d1.glb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12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6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5" Type="http://schemas.openxmlformats.org/officeDocument/2006/relationships/image" Target="../media/image24.png"/><Relationship Id="rId4" Type="http://schemas.openxmlformats.org/officeDocument/2006/relationships/image" Target="../media/image27.png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audio" Target="../media/audio2.wav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11" Type="http://schemas.microsoft.com/office/2007/relationships/hdphoto" Target="../media/hdphoto5.wdp"/><Relationship Id="rId5" Type="http://schemas.microsoft.com/office/2007/relationships/hdphoto" Target="../media/hdphoto2.wdp"/><Relationship Id="rId10" Type="http://schemas.openxmlformats.org/officeDocument/2006/relationships/image" Target="../media/image10.png"/><Relationship Id="rId4" Type="http://schemas.openxmlformats.org/officeDocument/2006/relationships/image" Target="../media/image7.png"/><Relationship Id="rId9" Type="http://schemas.microsoft.com/office/2007/relationships/hdphoto" Target="../media/hdphoto4.wdp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microsoft.com/office/2007/relationships/hdphoto" Target="../media/hdphoto5.wdp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12.xml"/><Relationship Id="rId6" Type="http://schemas.microsoft.com/office/2007/relationships/hdphoto" Target="../media/hdphoto2.wdp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9.png"/><Relationship Id="rId1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1E94060-2959-9885-3852-87BCAAB1D376}"/>
              </a:ext>
            </a:extLst>
          </p:cNvPr>
          <p:cNvSpPr txBox="1"/>
          <p:nvPr/>
        </p:nvSpPr>
        <p:spPr>
          <a:xfrm>
            <a:off x="4849792" y="2835796"/>
            <a:ext cx="290524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/>
              <a:t>MZ2 Team</a:t>
            </a:r>
          </a:p>
          <a:p>
            <a:pPr algn="ctr"/>
            <a:r>
              <a:rPr lang="fr-FR" sz="3200" b="1" dirty="0" err="1"/>
              <a:t>TerraCity</a:t>
            </a:r>
            <a:endParaRPr lang="fr-FR" sz="3200" b="1" dirty="0"/>
          </a:p>
        </p:txBody>
      </p:sp>
    </p:spTree>
    <p:extLst>
      <p:ext uri="{BB962C8B-B14F-4D97-AF65-F5344CB8AC3E}">
        <p14:creationId xmlns:p14="http://schemas.microsoft.com/office/powerpoint/2010/main" val="17668409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7" name="3D Model 6" descr="City Apartment Building">
                <a:extLst>
                  <a:ext uri="{FF2B5EF4-FFF2-40B4-BE49-F238E27FC236}">
                    <a16:creationId xmlns:a16="http://schemas.microsoft.com/office/drawing/2014/main" id="{7AEB4D68-9A96-70B0-17D5-0F2B441D49CD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4083668" y="864822"/>
              <a:ext cx="4024665" cy="5128356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4024665" cy="5128356"/>
                    </a:xfrm>
                    <a:prstGeom prst="rect">
                      <a:avLst/>
                    </a:prstGeom>
                  </am3d:spPr>
                  <am3d:camera>
                    <am3d:pos x="-6984921" y="-13915127" z="66451689"/>
                    <am3d:up dx="0" dy="36000000" dz="0"/>
                    <am3d:lookAt x="-6984921" y="-13915127" z="0"/>
                    <am3d:perspective fov="1251357"/>
                  </am3d:camera>
                  <am3d:trans>
                    <am3d:meterPerModelUnit n="8953201" d="1000000"/>
                    <am3d:preTrans dx="2265562" dy="-2570334" dz="11113605"/>
                    <am3d:scale>
                      <am3d:sx n="1000000" d="1000000"/>
                      <am3d:sy n="1000000" d="1000000"/>
                      <am3d:sz n="1000000" d="1000000"/>
                    </am3d:scale>
                    <am3d:rot ax="1915123" ay="-2353399" az="-1289931"/>
                    <am3d:postTrans dx="-4097216" dy="-11919799" dz="0"/>
                  </am3d:trans>
                  <am3d:raster rName="Office3DRenderer" rVer="16.0.8326">
                    <am3d:blip r:embed="rId3"/>
                  </am3d:raster>
                  <am3d:winViewport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7" name="3D Model 6" descr="City Apartment Building">
                <a:extLst>
                  <a:ext uri="{FF2B5EF4-FFF2-40B4-BE49-F238E27FC236}">
                    <a16:creationId xmlns:a16="http://schemas.microsoft.com/office/drawing/2014/main" id="{7AEB4D68-9A96-70B0-17D5-0F2B441D49C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3668" y="864822"/>
                <a:ext cx="4024665" cy="5128356"/>
              </a:xfrm>
              <a:prstGeom prst="rect">
                <a:avLst/>
              </a:prstGeom>
            </p:spPr>
          </p:pic>
        </mc:Fallback>
      </mc:AlternateContent>
      <p:grpSp>
        <p:nvGrpSpPr>
          <p:cNvPr id="2" name="Group 1">
            <a:extLst>
              <a:ext uri="{FF2B5EF4-FFF2-40B4-BE49-F238E27FC236}">
                <a16:creationId xmlns:a16="http://schemas.microsoft.com/office/drawing/2014/main" id="{89FA6998-786F-3152-EBCC-9F494B78CC2F}"/>
              </a:ext>
            </a:extLst>
          </p:cNvPr>
          <p:cNvGrpSpPr/>
          <p:nvPr/>
        </p:nvGrpSpPr>
        <p:grpSpPr>
          <a:xfrm>
            <a:off x="591062" y="674854"/>
            <a:ext cx="2767495" cy="1082388"/>
            <a:chOff x="1204520" y="1929481"/>
            <a:chExt cx="3403383" cy="133108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4F730E3-AE34-1F14-8B7C-F67D2F70D7F5}"/>
                </a:ext>
              </a:extLst>
            </p:cNvPr>
            <p:cNvSpPr txBox="1"/>
            <p:nvPr/>
          </p:nvSpPr>
          <p:spPr>
            <a:xfrm>
              <a:off x="2675751" y="2133360"/>
              <a:ext cx="193215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Connected</a:t>
              </a:r>
              <a:r>
                <a:rPr lang="fr-FR" dirty="0"/>
                <a:t> </a:t>
              </a:r>
              <a:r>
                <a:rPr lang="fr-FR" dirty="0" err="1"/>
                <a:t>gardens</a:t>
              </a:r>
              <a:endParaRPr lang="fr-FR" dirty="0"/>
            </a:p>
            <a:p>
              <a:r>
                <a:rPr lang="fr-FR" dirty="0"/>
                <a:t>in the </a:t>
              </a:r>
              <a:r>
                <a:rPr lang="fr-FR" dirty="0" err="1"/>
                <a:t>cities</a:t>
              </a:r>
              <a:endParaRPr lang="fr-FR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E890841-FA19-CB65-51A1-9E84601EAB41}"/>
                </a:ext>
              </a:extLst>
            </p:cNvPr>
            <p:cNvSpPr/>
            <p:nvPr/>
          </p:nvSpPr>
          <p:spPr>
            <a:xfrm>
              <a:off x="1204520" y="1929481"/>
              <a:ext cx="1331088" cy="1331088"/>
            </a:xfrm>
            <a:custGeom>
              <a:avLst/>
              <a:gdLst/>
              <a:ahLst/>
              <a:cxnLst/>
              <a:rect l="l" t="t" r="r" b="b"/>
              <a:pathLst>
                <a:path w="1331088" h="1331088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95276"/>
                    <a:pt x="1214692" y="1097821"/>
                    <a:pt x="1037656" y="1217424"/>
                  </a:cubicBezTo>
                  <a:lnTo>
                    <a:pt x="969846" y="1254230"/>
                  </a:lnTo>
                  <a:lnTo>
                    <a:pt x="969846" y="290791"/>
                  </a:lnTo>
                  <a:lnTo>
                    <a:pt x="754194" y="290791"/>
                  </a:lnTo>
                  <a:cubicBezTo>
                    <a:pt x="730803" y="321598"/>
                    <a:pt x="704132" y="349981"/>
                    <a:pt x="674180" y="375939"/>
                  </a:cubicBezTo>
                  <a:cubicBezTo>
                    <a:pt x="644228" y="401897"/>
                    <a:pt x="609427" y="424575"/>
                    <a:pt x="569777" y="443972"/>
                  </a:cubicBezTo>
                  <a:cubicBezTo>
                    <a:pt x="530127" y="463369"/>
                    <a:pt x="484058" y="478773"/>
                    <a:pt x="431572" y="490183"/>
                  </a:cubicBezTo>
                  <a:lnTo>
                    <a:pt x="431572" y="700701"/>
                  </a:lnTo>
                  <a:cubicBezTo>
                    <a:pt x="483488" y="693284"/>
                    <a:pt x="528415" y="682302"/>
                    <a:pt x="566354" y="667754"/>
                  </a:cubicBezTo>
                  <a:cubicBezTo>
                    <a:pt x="604293" y="653206"/>
                    <a:pt x="636669" y="636376"/>
                    <a:pt x="663483" y="617264"/>
                  </a:cubicBezTo>
                  <a:cubicBezTo>
                    <a:pt x="690297" y="598152"/>
                    <a:pt x="712832" y="578042"/>
                    <a:pt x="731088" y="556933"/>
                  </a:cubicBezTo>
                  <a:lnTo>
                    <a:pt x="731088" y="1324481"/>
                  </a:lnTo>
                  <a:lnTo>
                    <a:pt x="665544" y="1331088"/>
                  </a:lnTo>
                  <a:cubicBezTo>
                    <a:pt x="297974" y="1331088"/>
                    <a:pt x="0" y="1033114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8748164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7" name="3D Model 6" descr="City Apartment Building">
                <a:extLst>
                  <a:ext uri="{FF2B5EF4-FFF2-40B4-BE49-F238E27FC236}">
                    <a16:creationId xmlns:a16="http://schemas.microsoft.com/office/drawing/2014/main" id="{7AEB4D68-9A96-70B0-17D5-0F2B441D49CD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386959589"/>
                  </p:ext>
                </p:extLst>
              </p:nvPr>
            </p:nvGraphicFramePr>
            <p:xfrm>
              <a:off x="4083668" y="864822"/>
              <a:ext cx="4024665" cy="5128356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4024665" cy="5128356"/>
                    </a:xfrm>
                    <a:prstGeom prst="rect">
                      <a:avLst/>
                    </a:prstGeom>
                  </am3d:spPr>
                  <am3d:camera>
                    <am3d:pos x="2936062" y="-13931951" z="66451689"/>
                    <am3d:up dx="0" dy="36000000" dz="0"/>
                    <am3d:lookAt x="2936062" y="-13931951" z="0"/>
                    <am3d:perspective fov="1701609"/>
                  </am3d:camera>
                  <am3d:trans>
                    <am3d:meterPerModelUnit n="8953201" d="1000000"/>
                    <am3d:preTrans dx="2265562" dy="-2570334" dz="11113605"/>
                    <am3d:scale>
                      <am3d:sx n="1000000" d="1000000"/>
                      <am3d:sy n="1000000" d="1000000"/>
                      <am3d:sz n="1000000" d="1000000"/>
                    </am3d:scale>
                    <am3d:rot ax="1915123" ay="-2353399" az="-1289931"/>
                    <am3d:postTrans dx="-4097216" dy="-11919799" dz="0"/>
                  </am3d:trans>
                  <am3d:raster rName="Office3DRenderer" rVer="16.0.8326">
                    <am3d:blip r:embed="rId3"/>
                  </am3d:raster>
                  <am3d:winViewport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7" name="3D Model 6" descr="City Apartment Building">
                <a:extLst>
                  <a:ext uri="{FF2B5EF4-FFF2-40B4-BE49-F238E27FC236}">
                    <a16:creationId xmlns:a16="http://schemas.microsoft.com/office/drawing/2014/main" id="{7AEB4D68-9A96-70B0-17D5-0F2B441D49C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3668" y="864822"/>
                <a:ext cx="4024665" cy="5128356"/>
              </a:xfrm>
              <a:prstGeom prst="rect">
                <a:avLst/>
              </a:prstGeom>
            </p:spPr>
          </p:pic>
        </mc:Fallback>
      </mc:AlternateContent>
      <p:sp>
        <p:nvSpPr>
          <p:cNvPr id="2" name="Freeform: Shape 1">
            <a:extLst>
              <a:ext uri="{FF2B5EF4-FFF2-40B4-BE49-F238E27FC236}">
                <a16:creationId xmlns:a16="http://schemas.microsoft.com/office/drawing/2014/main" id="{2FE825DC-C366-8E25-F053-FA24AD57416F}"/>
              </a:ext>
            </a:extLst>
          </p:cNvPr>
          <p:cNvSpPr/>
          <p:nvPr/>
        </p:nvSpPr>
        <p:spPr>
          <a:xfrm>
            <a:off x="5494020" y="3642360"/>
            <a:ext cx="2514600" cy="1264920"/>
          </a:xfrm>
          <a:custGeom>
            <a:avLst/>
            <a:gdLst>
              <a:gd name="connsiteX0" fmla="*/ 0 w 2514600"/>
              <a:gd name="connsiteY0" fmla="*/ 708660 h 1264920"/>
              <a:gd name="connsiteX1" fmla="*/ 1097280 w 2514600"/>
              <a:gd name="connsiteY1" fmla="*/ 1264920 h 1264920"/>
              <a:gd name="connsiteX2" fmla="*/ 2514600 w 2514600"/>
              <a:gd name="connsiteY2" fmla="*/ 411480 h 1264920"/>
              <a:gd name="connsiteX3" fmla="*/ 1447800 w 2514600"/>
              <a:gd name="connsiteY3" fmla="*/ 0 h 1264920"/>
              <a:gd name="connsiteX4" fmla="*/ 0 w 2514600"/>
              <a:gd name="connsiteY4" fmla="*/ 708660 h 126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4600" h="1264920">
                <a:moveTo>
                  <a:pt x="0" y="708660"/>
                </a:moveTo>
                <a:lnTo>
                  <a:pt x="1097280" y="1264920"/>
                </a:lnTo>
                <a:lnTo>
                  <a:pt x="2514600" y="411480"/>
                </a:lnTo>
                <a:lnTo>
                  <a:pt x="1447800" y="0"/>
                </a:lnTo>
                <a:lnTo>
                  <a:pt x="0" y="708660"/>
                </a:lnTo>
                <a:close/>
              </a:path>
            </a:pathLst>
          </a:custGeom>
          <a:pattFill prst="lgConfetti">
            <a:fgClr>
              <a:schemeClr val="accent6">
                <a:lumMod val="50000"/>
              </a:schemeClr>
            </a:fgClr>
            <a:bgClr>
              <a:schemeClr val="accent6">
                <a:lumMod val="20000"/>
                <a:lumOff val="80000"/>
              </a:schemeClr>
            </a:bgClr>
          </a:pattFill>
          <a:ln w="3810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E154669-AB01-E6A3-C3E1-4DA8F8F6F279}"/>
              </a:ext>
            </a:extLst>
          </p:cNvPr>
          <p:cNvGrpSpPr/>
          <p:nvPr/>
        </p:nvGrpSpPr>
        <p:grpSpPr>
          <a:xfrm>
            <a:off x="5494246" y="3009900"/>
            <a:ext cx="522700" cy="853440"/>
            <a:chOff x="8915400" y="1950720"/>
            <a:chExt cx="1535430" cy="2506980"/>
          </a:xfrm>
          <a:scene3d>
            <a:camera prst="isometricRightUp">
              <a:rot lat="1129422" lon="18857835" rev="42009"/>
            </a:camera>
            <a:lightRig rig="threePt" dir="t"/>
          </a:scene3d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E6E2D84-79A4-98AD-3435-C09AAF1A68C7}"/>
                </a:ext>
              </a:extLst>
            </p:cNvPr>
            <p:cNvSpPr/>
            <p:nvPr/>
          </p:nvSpPr>
          <p:spPr>
            <a:xfrm>
              <a:off x="8915400" y="1950720"/>
              <a:ext cx="1535430" cy="2506980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381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ACF5FE9-C25A-6A2A-FED4-CBBF29E29C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784080" y="3666172"/>
              <a:ext cx="571500" cy="571500"/>
            </a:xfrm>
            <a:prstGeom prst="rect">
              <a:avLst/>
            </a:prstGeom>
          </p:spPr>
        </p:pic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D86788D6-087F-FD5C-DB82-4B65BF82B826}"/>
                </a:ext>
              </a:extLst>
            </p:cNvPr>
            <p:cNvSpPr/>
            <p:nvPr/>
          </p:nvSpPr>
          <p:spPr>
            <a:xfrm>
              <a:off x="9037646" y="2095501"/>
              <a:ext cx="994084" cy="175260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0EC792AA-5321-48FD-456A-F2FE804E2C6A}"/>
                </a:ext>
              </a:extLst>
            </p:cNvPr>
            <p:cNvSpPr/>
            <p:nvPr/>
          </p:nvSpPr>
          <p:spPr>
            <a:xfrm>
              <a:off x="9075746" y="2423164"/>
              <a:ext cx="994084" cy="175260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7434F0F4-3736-50E4-6801-CED7C5476840}"/>
                </a:ext>
              </a:extLst>
            </p:cNvPr>
            <p:cNvSpPr/>
            <p:nvPr/>
          </p:nvSpPr>
          <p:spPr>
            <a:xfrm>
              <a:off x="9075746" y="2705099"/>
              <a:ext cx="1188720" cy="182880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16A2BA9-2777-426D-CB76-C6451BCBAE0B}"/>
                </a:ext>
              </a:extLst>
            </p:cNvPr>
            <p:cNvSpPr/>
            <p:nvPr/>
          </p:nvSpPr>
          <p:spPr>
            <a:xfrm>
              <a:off x="9075746" y="3021331"/>
              <a:ext cx="822960" cy="175260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1" name="Graphic 10" descr="Plant With Roots with solid fill">
              <a:extLst>
                <a:ext uri="{FF2B5EF4-FFF2-40B4-BE49-F238E27FC236}">
                  <a16:creationId xmlns:a16="http://schemas.microsoft.com/office/drawing/2014/main" id="{EB1993B0-E3C3-68A3-BBC6-8FF05D64EB5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915400" y="3583305"/>
              <a:ext cx="737235" cy="737235"/>
            </a:xfrm>
            <a:prstGeom prst="rect">
              <a:avLst/>
            </a:prstGeom>
          </p:spPr>
        </p:pic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93121EE-41D1-C196-B69C-BE61FA03E667}"/>
              </a:ext>
            </a:extLst>
          </p:cNvPr>
          <p:cNvSpPr/>
          <p:nvPr/>
        </p:nvSpPr>
        <p:spPr>
          <a:xfrm>
            <a:off x="5394307" y="3948295"/>
            <a:ext cx="1335825" cy="853440"/>
          </a:xfrm>
          <a:custGeom>
            <a:avLst/>
            <a:gdLst>
              <a:gd name="connsiteX0" fmla="*/ 2638235 w 3095775"/>
              <a:gd name="connsiteY0" fmla="*/ 784861 h 2537460"/>
              <a:gd name="connsiteX1" fmla="*/ 2638235 w 3095775"/>
              <a:gd name="connsiteY1" fmla="*/ 1778117 h 2537460"/>
              <a:gd name="connsiteX2" fmla="*/ 2745255 w 3095775"/>
              <a:gd name="connsiteY2" fmla="*/ 1778117 h 2537460"/>
              <a:gd name="connsiteX3" fmla="*/ 2745255 w 3095775"/>
              <a:gd name="connsiteY3" fmla="*/ 784861 h 2537460"/>
              <a:gd name="connsiteX4" fmla="*/ 2180692 w 3095775"/>
              <a:gd name="connsiteY4" fmla="*/ 784861 h 2537460"/>
              <a:gd name="connsiteX5" fmla="*/ 2180692 w 3095775"/>
              <a:gd name="connsiteY5" fmla="*/ 1778117 h 2537460"/>
              <a:gd name="connsiteX6" fmla="*/ 2287715 w 3095775"/>
              <a:gd name="connsiteY6" fmla="*/ 1778117 h 2537460"/>
              <a:gd name="connsiteX7" fmla="*/ 2287715 w 3095775"/>
              <a:gd name="connsiteY7" fmla="*/ 784861 h 2537460"/>
              <a:gd name="connsiteX8" fmla="*/ 1723149 w 3095775"/>
              <a:gd name="connsiteY8" fmla="*/ 784861 h 2537460"/>
              <a:gd name="connsiteX9" fmla="*/ 1723149 w 3095775"/>
              <a:gd name="connsiteY9" fmla="*/ 1778117 h 2537460"/>
              <a:gd name="connsiteX10" fmla="*/ 1830172 w 3095775"/>
              <a:gd name="connsiteY10" fmla="*/ 1778117 h 2537460"/>
              <a:gd name="connsiteX11" fmla="*/ 1830172 w 3095775"/>
              <a:gd name="connsiteY11" fmla="*/ 784861 h 2537460"/>
              <a:gd name="connsiteX12" fmla="*/ 1265606 w 3095775"/>
              <a:gd name="connsiteY12" fmla="*/ 784861 h 2537460"/>
              <a:gd name="connsiteX13" fmla="*/ 1265606 w 3095775"/>
              <a:gd name="connsiteY13" fmla="*/ 1778117 h 2537460"/>
              <a:gd name="connsiteX14" fmla="*/ 1372629 w 3095775"/>
              <a:gd name="connsiteY14" fmla="*/ 1778117 h 2537460"/>
              <a:gd name="connsiteX15" fmla="*/ 1372629 w 3095775"/>
              <a:gd name="connsiteY15" fmla="*/ 784861 h 2537460"/>
              <a:gd name="connsiteX16" fmla="*/ 808063 w 3095775"/>
              <a:gd name="connsiteY16" fmla="*/ 784861 h 2537460"/>
              <a:gd name="connsiteX17" fmla="*/ 808063 w 3095775"/>
              <a:gd name="connsiteY17" fmla="*/ 1778117 h 2537460"/>
              <a:gd name="connsiteX18" fmla="*/ 915086 w 3095775"/>
              <a:gd name="connsiteY18" fmla="*/ 1778117 h 2537460"/>
              <a:gd name="connsiteX19" fmla="*/ 915086 w 3095775"/>
              <a:gd name="connsiteY19" fmla="*/ 784861 h 2537460"/>
              <a:gd name="connsiteX20" fmla="*/ 350520 w 3095775"/>
              <a:gd name="connsiteY20" fmla="*/ 784861 h 2537460"/>
              <a:gd name="connsiteX21" fmla="*/ 350520 w 3095775"/>
              <a:gd name="connsiteY21" fmla="*/ 1778117 h 2537460"/>
              <a:gd name="connsiteX22" fmla="*/ 457543 w 3095775"/>
              <a:gd name="connsiteY22" fmla="*/ 1778117 h 2537460"/>
              <a:gd name="connsiteX23" fmla="*/ 457543 w 3095775"/>
              <a:gd name="connsiteY23" fmla="*/ 784861 h 2537460"/>
              <a:gd name="connsiteX24" fmla="*/ 175260 w 3095775"/>
              <a:gd name="connsiteY24" fmla="*/ 0 h 2537460"/>
              <a:gd name="connsiteX25" fmla="*/ 336747 w 3095775"/>
              <a:gd name="connsiteY25" fmla="*/ 107041 h 2537460"/>
              <a:gd name="connsiteX26" fmla="*/ 347443 w 3095775"/>
              <a:gd name="connsiteY26" fmla="*/ 160020 h 2537460"/>
              <a:gd name="connsiteX27" fmla="*/ 350520 w 3095775"/>
              <a:gd name="connsiteY27" fmla="*/ 160020 h 2537460"/>
              <a:gd name="connsiteX28" fmla="*/ 350520 w 3095775"/>
              <a:gd name="connsiteY28" fmla="*/ 175260 h 2537460"/>
              <a:gd name="connsiteX29" fmla="*/ 350520 w 3095775"/>
              <a:gd name="connsiteY29" fmla="*/ 564366 h 2537460"/>
              <a:gd name="connsiteX30" fmla="*/ 457543 w 3095775"/>
              <a:gd name="connsiteY30" fmla="*/ 564366 h 2537460"/>
              <a:gd name="connsiteX31" fmla="*/ 457543 w 3095775"/>
              <a:gd name="connsiteY31" fmla="*/ 175260 h 2537460"/>
              <a:gd name="connsiteX32" fmla="*/ 457543 w 3095775"/>
              <a:gd name="connsiteY32" fmla="*/ 160020 h 2537460"/>
              <a:gd name="connsiteX33" fmla="*/ 460620 w 3095775"/>
              <a:gd name="connsiteY33" fmla="*/ 160020 h 2537460"/>
              <a:gd name="connsiteX34" fmla="*/ 471316 w 3095775"/>
              <a:gd name="connsiteY34" fmla="*/ 107041 h 2537460"/>
              <a:gd name="connsiteX35" fmla="*/ 632803 w 3095775"/>
              <a:gd name="connsiteY35" fmla="*/ 0 h 2537460"/>
              <a:gd name="connsiteX36" fmla="*/ 794290 w 3095775"/>
              <a:gd name="connsiteY36" fmla="*/ 107041 h 2537460"/>
              <a:gd name="connsiteX37" fmla="*/ 804986 w 3095775"/>
              <a:gd name="connsiteY37" fmla="*/ 160020 h 2537460"/>
              <a:gd name="connsiteX38" fmla="*/ 808063 w 3095775"/>
              <a:gd name="connsiteY38" fmla="*/ 160020 h 2537460"/>
              <a:gd name="connsiteX39" fmla="*/ 808063 w 3095775"/>
              <a:gd name="connsiteY39" fmla="*/ 175260 h 2537460"/>
              <a:gd name="connsiteX40" fmla="*/ 808063 w 3095775"/>
              <a:gd name="connsiteY40" fmla="*/ 564366 h 2537460"/>
              <a:gd name="connsiteX41" fmla="*/ 915086 w 3095775"/>
              <a:gd name="connsiteY41" fmla="*/ 564366 h 2537460"/>
              <a:gd name="connsiteX42" fmla="*/ 915086 w 3095775"/>
              <a:gd name="connsiteY42" fmla="*/ 175260 h 2537460"/>
              <a:gd name="connsiteX43" fmla="*/ 915086 w 3095775"/>
              <a:gd name="connsiteY43" fmla="*/ 160020 h 2537460"/>
              <a:gd name="connsiteX44" fmla="*/ 918163 w 3095775"/>
              <a:gd name="connsiteY44" fmla="*/ 160020 h 2537460"/>
              <a:gd name="connsiteX45" fmla="*/ 928859 w 3095775"/>
              <a:gd name="connsiteY45" fmla="*/ 107041 h 2537460"/>
              <a:gd name="connsiteX46" fmla="*/ 1090346 w 3095775"/>
              <a:gd name="connsiteY46" fmla="*/ 0 h 2537460"/>
              <a:gd name="connsiteX47" fmla="*/ 1251833 w 3095775"/>
              <a:gd name="connsiteY47" fmla="*/ 107041 h 2537460"/>
              <a:gd name="connsiteX48" fmla="*/ 1262529 w 3095775"/>
              <a:gd name="connsiteY48" fmla="*/ 160020 h 2537460"/>
              <a:gd name="connsiteX49" fmla="*/ 1265606 w 3095775"/>
              <a:gd name="connsiteY49" fmla="*/ 160020 h 2537460"/>
              <a:gd name="connsiteX50" fmla="*/ 1265606 w 3095775"/>
              <a:gd name="connsiteY50" fmla="*/ 175260 h 2537460"/>
              <a:gd name="connsiteX51" fmla="*/ 1265606 w 3095775"/>
              <a:gd name="connsiteY51" fmla="*/ 564366 h 2537460"/>
              <a:gd name="connsiteX52" fmla="*/ 1372629 w 3095775"/>
              <a:gd name="connsiteY52" fmla="*/ 564366 h 2537460"/>
              <a:gd name="connsiteX53" fmla="*/ 1372629 w 3095775"/>
              <a:gd name="connsiteY53" fmla="*/ 175260 h 2537460"/>
              <a:gd name="connsiteX54" fmla="*/ 1372629 w 3095775"/>
              <a:gd name="connsiteY54" fmla="*/ 160020 h 2537460"/>
              <a:gd name="connsiteX55" fmla="*/ 1375706 w 3095775"/>
              <a:gd name="connsiteY55" fmla="*/ 160020 h 2537460"/>
              <a:gd name="connsiteX56" fmla="*/ 1386402 w 3095775"/>
              <a:gd name="connsiteY56" fmla="*/ 107041 h 2537460"/>
              <a:gd name="connsiteX57" fmla="*/ 1547889 w 3095775"/>
              <a:gd name="connsiteY57" fmla="*/ 0 h 2537460"/>
              <a:gd name="connsiteX58" fmla="*/ 1709376 w 3095775"/>
              <a:gd name="connsiteY58" fmla="*/ 107041 h 2537460"/>
              <a:gd name="connsiteX59" fmla="*/ 1720072 w 3095775"/>
              <a:gd name="connsiteY59" fmla="*/ 160020 h 2537460"/>
              <a:gd name="connsiteX60" fmla="*/ 1723149 w 3095775"/>
              <a:gd name="connsiteY60" fmla="*/ 160020 h 2537460"/>
              <a:gd name="connsiteX61" fmla="*/ 1723149 w 3095775"/>
              <a:gd name="connsiteY61" fmla="*/ 175260 h 2537460"/>
              <a:gd name="connsiteX62" fmla="*/ 1723149 w 3095775"/>
              <a:gd name="connsiteY62" fmla="*/ 564366 h 2537460"/>
              <a:gd name="connsiteX63" fmla="*/ 1830172 w 3095775"/>
              <a:gd name="connsiteY63" fmla="*/ 564366 h 2537460"/>
              <a:gd name="connsiteX64" fmla="*/ 1830172 w 3095775"/>
              <a:gd name="connsiteY64" fmla="*/ 175260 h 2537460"/>
              <a:gd name="connsiteX65" fmla="*/ 1830172 w 3095775"/>
              <a:gd name="connsiteY65" fmla="*/ 160020 h 2537460"/>
              <a:gd name="connsiteX66" fmla="*/ 1833249 w 3095775"/>
              <a:gd name="connsiteY66" fmla="*/ 160020 h 2537460"/>
              <a:gd name="connsiteX67" fmla="*/ 1843945 w 3095775"/>
              <a:gd name="connsiteY67" fmla="*/ 107041 h 2537460"/>
              <a:gd name="connsiteX68" fmla="*/ 2005432 w 3095775"/>
              <a:gd name="connsiteY68" fmla="*/ 0 h 2537460"/>
              <a:gd name="connsiteX69" fmla="*/ 2166919 w 3095775"/>
              <a:gd name="connsiteY69" fmla="*/ 107041 h 2537460"/>
              <a:gd name="connsiteX70" fmla="*/ 2177615 w 3095775"/>
              <a:gd name="connsiteY70" fmla="*/ 160020 h 2537460"/>
              <a:gd name="connsiteX71" fmla="*/ 2180692 w 3095775"/>
              <a:gd name="connsiteY71" fmla="*/ 160020 h 2537460"/>
              <a:gd name="connsiteX72" fmla="*/ 2180692 w 3095775"/>
              <a:gd name="connsiteY72" fmla="*/ 175260 h 2537460"/>
              <a:gd name="connsiteX73" fmla="*/ 2180692 w 3095775"/>
              <a:gd name="connsiteY73" fmla="*/ 564366 h 2537460"/>
              <a:gd name="connsiteX74" fmla="*/ 2287715 w 3095775"/>
              <a:gd name="connsiteY74" fmla="*/ 564366 h 2537460"/>
              <a:gd name="connsiteX75" fmla="*/ 2287715 w 3095775"/>
              <a:gd name="connsiteY75" fmla="*/ 175260 h 2537460"/>
              <a:gd name="connsiteX76" fmla="*/ 2287715 w 3095775"/>
              <a:gd name="connsiteY76" fmla="*/ 160020 h 2537460"/>
              <a:gd name="connsiteX77" fmla="*/ 2290792 w 3095775"/>
              <a:gd name="connsiteY77" fmla="*/ 160020 h 2537460"/>
              <a:gd name="connsiteX78" fmla="*/ 2301488 w 3095775"/>
              <a:gd name="connsiteY78" fmla="*/ 107041 h 2537460"/>
              <a:gd name="connsiteX79" fmla="*/ 2462975 w 3095775"/>
              <a:gd name="connsiteY79" fmla="*/ 0 h 2537460"/>
              <a:gd name="connsiteX80" fmla="*/ 2624462 w 3095775"/>
              <a:gd name="connsiteY80" fmla="*/ 107041 h 2537460"/>
              <a:gd name="connsiteX81" fmla="*/ 2635158 w 3095775"/>
              <a:gd name="connsiteY81" fmla="*/ 160020 h 2537460"/>
              <a:gd name="connsiteX82" fmla="*/ 2638235 w 3095775"/>
              <a:gd name="connsiteY82" fmla="*/ 160020 h 2537460"/>
              <a:gd name="connsiteX83" fmla="*/ 2638235 w 3095775"/>
              <a:gd name="connsiteY83" fmla="*/ 175260 h 2537460"/>
              <a:gd name="connsiteX84" fmla="*/ 2638235 w 3095775"/>
              <a:gd name="connsiteY84" fmla="*/ 564366 h 2537460"/>
              <a:gd name="connsiteX85" fmla="*/ 2745255 w 3095775"/>
              <a:gd name="connsiteY85" fmla="*/ 564366 h 2537460"/>
              <a:gd name="connsiteX86" fmla="*/ 2745255 w 3095775"/>
              <a:gd name="connsiteY86" fmla="*/ 175260 h 2537460"/>
              <a:gd name="connsiteX87" fmla="*/ 2745255 w 3095775"/>
              <a:gd name="connsiteY87" fmla="*/ 160020 h 2537460"/>
              <a:gd name="connsiteX88" fmla="*/ 2748332 w 3095775"/>
              <a:gd name="connsiteY88" fmla="*/ 160020 h 2537460"/>
              <a:gd name="connsiteX89" fmla="*/ 2759028 w 3095775"/>
              <a:gd name="connsiteY89" fmla="*/ 107041 h 2537460"/>
              <a:gd name="connsiteX90" fmla="*/ 2920515 w 3095775"/>
              <a:gd name="connsiteY90" fmla="*/ 0 h 2537460"/>
              <a:gd name="connsiteX91" fmla="*/ 3082002 w 3095775"/>
              <a:gd name="connsiteY91" fmla="*/ 107041 h 2537460"/>
              <a:gd name="connsiteX92" fmla="*/ 3092698 w 3095775"/>
              <a:gd name="connsiteY92" fmla="*/ 160020 h 2537460"/>
              <a:gd name="connsiteX93" fmla="*/ 3095775 w 3095775"/>
              <a:gd name="connsiteY93" fmla="*/ 160020 h 2537460"/>
              <a:gd name="connsiteX94" fmla="*/ 3095775 w 3095775"/>
              <a:gd name="connsiteY94" fmla="*/ 175260 h 2537460"/>
              <a:gd name="connsiteX95" fmla="*/ 3095775 w 3095775"/>
              <a:gd name="connsiteY95" fmla="*/ 2537460 h 2537460"/>
              <a:gd name="connsiteX96" fmla="*/ 2745255 w 3095775"/>
              <a:gd name="connsiteY96" fmla="*/ 2537460 h 2537460"/>
              <a:gd name="connsiteX97" fmla="*/ 2745255 w 3095775"/>
              <a:gd name="connsiteY97" fmla="*/ 1998612 h 2537460"/>
              <a:gd name="connsiteX98" fmla="*/ 2638235 w 3095775"/>
              <a:gd name="connsiteY98" fmla="*/ 1998612 h 2537460"/>
              <a:gd name="connsiteX99" fmla="*/ 2638235 w 3095775"/>
              <a:gd name="connsiteY99" fmla="*/ 2537460 h 2537460"/>
              <a:gd name="connsiteX100" fmla="*/ 2287715 w 3095775"/>
              <a:gd name="connsiteY100" fmla="*/ 2537460 h 2537460"/>
              <a:gd name="connsiteX101" fmla="*/ 2287715 w 3095775"/>
              <a:gd name="connsiteY101" fmla="*/ 1998612 h 2537460"/>
              <a:gd name="connsiteX102" fmla="*/ 2180692 w 3095775"/>
              <a:gd name="connsiteY102" fmla="*/ 1998612 h 2537460"/>
              <a:gd name="connsiteX103" fmla="*/ 2180692 w 3095775"/>
              <a:gd name="connsiteY103" fmla="*/ 2537460 h 2537460"/>
              <a:gd name="connsiteX104" fmla="*/ 1830172 w 3095775"/>
              <a:gd name="connsiteY104" fmla="*/ 2537460 h 2537460"/>
              <a:gd name="connsiteX105" fmla="*/ 1830172 w 3095775"/>
              <a:gd name="connsiteY105" fmla="*/ 1998612 h 2537460"/>
              <a:gd name="connsiteX106" fmla="*/ 1723149 w 3095775"/>
              <a:gd name="connsiteY106" fmla="*/ 1998612 h 2537460"/>
              <a:gd name="connsiteX107" fmla="*/ 1723149 w 3095775"/>
              <a:gd name="connsiteY107" fmla="*/ 2537460 h 2537460"/>
              <a:gd name="connsiteX108" fmla="*/ 1372629 w 3095775"/>
              <a:gd name="connsiteY108" fmla="*/ 2537460 h 2537460"/>
              <a:gd name="connsiteX109" fmla="*/ 1372629 w 3095775"/>
              <a:gd name="connsiteY109" fmla="*/ 1998612 h 2537460"/>
              <a:gd name="connsiteX110" fmla="*/ 1265606 w 3095775"/>
              <a:gd name="connsiteY110" fmla="*/ 1998612 h 2537460"/>
              <a:gd name="connsiteX111" fmla="*/ 1265606 w 3095775"/>
              <a:gd name="connsiteY111" fmla="*/ 2537460 h 2537460"/>
              <a:gd name="connsiteX112" fmla="*/ 915086 w 3095775"/>
              <a:gd name="connsiteY112" fmla="*/ 2537460 h 2537460"/>
              <a:gd name="connsiteX113" fmla="*/ 915086 w 3095775"/>
              <a:gd name="connsiteY113" fmla="*/ 1998612 h 2537460"/>
              <a:gd name="connsiteX114" fmla="*/ 808063 w 3095775"/>
              <a:gd name="connsiteY114" fmla="*/ 1998612 h 2537460"/>
              <a:gd name="connsiteX115" fmla="*/ 808063 w 3095775"/>
              <a:gd name="connsiteY115" fmla="*/ 2537460 h 2537460"/>
              <a:gd name="connsiteX116" fmla="*/ 457543 w 3095775"/>
              <a:gd name="connsiteY116" fmla="*/ 2537460 h 2537460"/>
              <a:gd name="connsiteX117" fmla="*/ 457543 w 3095775"/>
              <a:gd name="connsiteY117" fmla="*/ 1998612 h 2537460"/>
              <a:gd name="connsiteX118" fmla="*/ 350520 w 3095775"/>
              <a:gd name="connsiteY118" fmla="*/ 1998612 h 2537460"/>
              <a:gd name="connsiteX119" fmla="*/ 350520 w 3095775"/>
              <a:gd name="connsiteY119" fmla="*/ 2537460 h 2537460"/>
              <a:gd name="connsiteX120" fmla="*/ 0 w 3095775"/>
              <a:gd name="connsiteY120" fmla="*/ 2537460 h 2537460"/>
              <a:gd name="connsiteX121" fmla="*/ 0 w 3095775"/>
              <a:gd name="connsiteY121" fmla="*/ 175260 h 2537460"/>
              <a:gd name="connsiteX122" fmla="*/ 0 w 3095775"/>
              <a:gd name="connsiteY122" fmla="*/ 160020 h 2537460"/>
              <a:gd name="connsiteX123" fmla="*/ 3077 w 3095775"/>
              <a:gd name="connsiteY123" fmla="*/ 160020 h 2537460"/>
              <a:gd name="connsiteX124" fmla="*/ 13773 w 3095775"/>
              <a:gd name="connsiteY124" fmla="*/ 107041 h 2537460"/>
              <a:gd name="connsiteX125" fmla="*/ 175260 w 3095775"/>
              <a:gd name="connsiteY125" fmla="*/ 0 h 2537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3095775" h="2537460">
                <a:moveTo>
                  <a:pt x="2638235" y="784861"/>
                </a:moveTo>
                <a:lnTo>
                  <a:pt x="2638235" y="1778117"/>
                </a:lnTo>
                <a:lnTo>
                  <a:pt x="2745255" y="1778117"/>
                </a:lnTo>
                <a:lnTo>
                  <a:pt x="2745255" y="784861"/>
                </a:lnTo>
                <a:close/>
                <a:moveTo>
                  <a:pt x="2180692" y="784861"/>
                </a:moveTo>
                <a:lnTo>
                  <a:pt x="2180692" y="1778117"/>
                </a:lnTo>
                <a:lnTo>
                  <a:pt x="2287715" y="1778117"/>
                </a:lnTo>
                <a:lnTo>
                  <a:pt x="2287715" y="784861"/>
                </a:lnTo>
                <a:close/>
                <a:moveTo>
                  <a:pt x="1723149" y="784861"/>
                </a:moveTo>
                <a:lnTo>
                  <a:pt x="1723149" y="1778117"/>
                </a:lnTo>
                <a:lnTo>
                  <a:pt x="1830172" y="1778117"/>
                </a:lnTo>
                <a:lnTo>
                  <a:pt x="1830172" y="784861"/>
                </a:lnTo>
                <a:close/>
                <a:moveTo>
                  <a:pt x="1265606" y="784861"/>
                </a:moveTo>
                <a:lnTo>
                  <a:pt x="1265606" y="1778117"/>
                </a:lnTo>
                <a:lnTo>
                  <a:pt x="1372629" y="1778117"/>
                </a:lnTo>
                <a:lnTo>
                  <a:pt x="1372629" y="784861"/>
                </a:lnTo>
                <a:close/>
                <a:moveTo>
                  <a:pt x="808063" y="784861"/>
                </a:moveTo>
                <a:lnTo>
                  <a:pt x="808063" y="1778117"/>
                </a:lnTo>
                <a:lnTo>
                  <a:pt x="915086" y="1778117"/>
                </a:lnTo>
                <a:lnTo>
                  <a:pt x="915086" y="784861"/>
                </a:lnTo>
                <a:close/>
                <a:moveTo>
                  <a:pt x="350520" y="784861"/>
                </a:moveTo>
                <a:lnTo>
                  <a:pt x="350520" y="1778117"/>
                </a:lnTo>
                <a:lnTo>
                  <a:pt x="457543" y="1778117"/>
                </a:lnTo>
                <a:lnTo>
                  <a:pt x="457543" y="784861"/>
                </a:lnTo>
                <a:close/>
                <a:moveTo>
                  <a:pt x="175260" y="0"/>
                </a:moveTo>
                <a:cubicBezTo>
                  <a:pt x="247855" y="0"/>
                  <a:pt x="310141" y="44138"/>
                  <a:pt x="336747" y="107041"/>
                </a:cubicBezTo>
                <a:lnTo>
                  <a:pt x="347443" y="160020"/>
                </a:lnTo>
                <a:lnTo>
                  <a:pt x="350520" y="160020"/>
                </a:lnTo>
                <a:lnTo>
                  <a:pt x="350520" y="175260"/>
                </a:lnTo>
                <a:lnTo>
                  <a:pt x="350520" y="564366"/>
                </a:lnTo>
                <a:lnTo>
                  <a:pt x="457543" y="564366"/>
                </a:lnTo>
                <a:lnTo>
                  <a:pt x="457543" y="175260"/>
                </a:lnTo>
                <a:lnTo>
                  <a:pt x="457543" y="160020"/>
                </a:lnTo>
                <a:lnTo>
                  <a:pt x="460620" y="160020"/>
                </a:lnTo>
                <a:lnTo>
                  <a:pt x="471316" y="107041"/>
                </a:lnTo>
                <a:cubicBezTo>
                  <a:pt x="497922" y="44138"/>
                  <a:pt x="560208" y="0"/>
                  <a:pt x="632803" y="0"/>
                </a:cubicBezTo>
                <a:cubicBezTo>
                  <a:pt x="705398" y="0"/>
                  <a:pt x="767684" y="44138"/>
                  <a:pt x="794290" y="107041"/>
                </a:cubicBezTo>
                <a:lnTo>
                  <a:pt x="804986" y="160020"/>
                </a:lnTo>
                <a:lnTo>
                  <a:pt x="808063" y="160020"/>
                </a:lnTo>
                <a:lnTo>
                  <a:pt x="808063" y="175260"/>
                </a:lnTo>
                <a:lnTo>
                  <a:pt x="808063" y="564366"/>
                </a:lnTo>
                <a:lnTo>
                  <a:pt x="915086" y="564366"/>
                </a:lnTo>
                <a:lnTo>
                  <a:pt x="915086" y="175260"/>
                </a:lnTo>
                <a:lnTo>
                  <a:pt x="915086" y="160020"/>
                </a:lnTo>
                <a:lnTo>
                  <a:pt x="918163" y="160020"/>
                </a:lnTo>
                <a:lnTo>
                  <a:pt x="928859" y="107041"/>
                </a:lnTo>
                <a:cubicBezTo>
                  <a:pt x="955465" y="44138"/>
                  <a:pt x="1017751" y="0"/>
                  <a:pt x="1090346" y="0"/>
                </a:cubicBezTo>
                <a:cubicBezTo>
                  <a:pt x="1162941" y="0"/>
                  <a:pt x="1225227" y="44138"/>
                  <a:pt x="1251833" y="107041"/>
                </a:cubicBezTo>
                <a:lnTo>
                  <a:pt x="1262529" y="160020"/>
                </a:lnTo>
                <a:lnTo>
                  <a:pt x="1265606" y="160020"/>
                </a:lnTo>
                <a:lnTo>
                  <a:pt x="1265606" y="175260"/>
                </a:lnTo>
                <a:lnTo>
                  <a:pt x="1265606" y="564366"/>
                </a:lnTo>
                <a:lnTo>
                  <a:pt x="1372629" y="564366"/>
                </a:lnTo>
                <a:lnTo>
                  <a:pt x="1372629" y="175260"/>
                </a:lnTo>
                <a:lnTo>
                  <a:pt x="1372629" y="160020"/>
                </a:lnTo>
                <a:lnTo>
                  <a:pt x="1375706" y="160020"/>
                </a:lnTo>
                <a:lnTo>
                  <a:pt x="1386402" y="107041"/>
                </a:lnTo>
                <a:cubicBezTo>
                  <a:pt x="1413008" y="44138"/>
                  <a:pt x="1475294" y="0"/>
                  <a:pt x="1547889" y="0"/>
                </a:cubicBezTo>
                <a:cubicBezTo>
                  <a:pt x="1620484" y="0"/>
                  <a:pt x="1682770" y="44138"/>
                  <a:pt x="1709376" y="107041"/>
                </a:cubicBezTo>
                <a:lnTo>
                  <a:pt x="1720072" y="160020"/>
                </a:lnTo>
                <a:lnTo>
                  <a:pt x="1723149" y="160020"/>
                </a:lnTo>
                <a:lnTo>
                  <a:pt x="1723149" y="175260"/>
                </a:lnTo>
                <a:lnTo>
                  <a:pt x="1723149" y="564366"/>
                </a:lnTo>
                <a:lnTo>
                  <a:pt x="1830172" y="564366"/>
                </a:lnTo>
                <a:lnTo>
                  <a:pt x="1830172" y="175260"/>
                </a:lnTo>
                <a:lnTo>
                  <a:pt x="1830172" y="160020"/>
                </a:lnTo>
                <a:lnTo>
                  <a:pt x="1833249" y="160020"/>
                </a:lnTo>
                <a:lnTo>
                  <a:pt x="1843945" y="107041"/>
                </a:lnTo>
                <a:cubicBezTo>
                  <a:pt x="1870551" y="44138"/>
                  <a:pt x="1932837" y="0"/>
                  <a:pt x="2005432" y="0"/>
                </a:cubicBezTo>
                <a:cubicBezTo>
                  <a:pt x="2078027" y="0"/>
                  <a:pt x="2140313" y="44138"/>
                  <a:pt x="2166919" y="107041"/>
                </a:cubicBezTo>
                <a:lnTo>
                  <a:pt x="2177615" y="160020"/>
                </a:lnTo>
                <a:lnTo>
                  <a:pt x="2180692" y="160020"/>
                </a:lnTo>
                <a:lnTo>
                  <a:pt x="2180692" y="175260"/>
                </a:lnTo>
                <a:lnTo>
                  <a:pt x="2180692" y="564366"/>
                </a:lnTo>
                <a:lnTo>
                  <a:pt x="2287715" y="564366"/>
                </a:lnTo>
                <a:lnTo>
                  <a:pt x="2287715" y="175260"/>
                </a:lnTo>
                <a:lnTo>
                  <a:pt x="2287715" y="160020"/>
                </a:lnTo>
                <a:lnTo>
                  <a:pt x="2290792" y="160020"/>
                </a:lnTo>
                <a:lnTo>
                  <a:pt x="2301488" y="107041"/>
                </a:lnTo>
                <a:cubicBezTo>
                  <a:pt x="2328094" y="44138"/>
                  <a:pt x="2390380" y="0"/>
                  <a:pt x="2462975" y="0"/>
                </a:cubicBezTo>
                <a:cubicBezTo>
                  <a:pt x="2535570" y="0"/>
                  <a:pt x="2597856" y="44138"/>
                  <a:pt x="2624462" y="107041"/>
                </a:cubicBezTo>
                <a:lnTo>
                  <a:pt x="2635158" y="160020"/>
                </a:lnTo>
                <a:lnTo>
                  <a:pt x="2638235" y="160020"/>
                </a:lnTo>
                <a:lnTo>
                  <a:pt x="2638235" y="175260"/>
                </a:lnTo>
                <a:lnTo>
                  <a:pt x="2638235" y="564366"/>
                </a:lnTo>
                <a:lnTo>
                  <a:pt x="2745255" y="564366"/>
                </a:lnTo>
                <a:lnTo>
                  <a:pt x="2745255" y="175260"/>
                </a:lnTo>
                <a:lnTo>
                  <a:pt x="2745255" y="160020"/>
                </a:lnTo>
                <a:lnTo>
                  <a:pt x="2748332" y="160020"/>
                </a:lnTo>
                <a:lnTo>
                  <a:pt x="2759028" y="107041"/>
                </a:lnTo>
                <a:cubicBezTo>
                  <a:pt x="2785634" y="44138"/>
                  <a:pt x="2847920" y="0"/>
                  <a:pt x="2920515" y="0"/>
                </a:cubicBezTo>
                <a:cubicBezTo>
                  <a:pt x="2993110" y="0"/>
                  <a:pt x="3055396" y="44138"/>
                  <a:pt x="3082002" y="107041"/>
                </a:cubicBezTo>
                <a:lnTo>
                  <a:pt x="3092698" y="160020"/>
                </a:lnTo>
                <a:lnTo>
                  <a:pt x="3095775" y="160020"/>
                </a:lnTo>
                <a:lnTo>
                  <a:pt x="3095775" y="175260"/>
                </a:lnTo>
                <a:lnTo>
                  <a:pt x="3095775" y="2537460"/>
                </a:lnTo>
                <a:lnTo>
                  <a:pt x="2745255" y="2537460"/>
                </a:lnTo>
                <a:lnTo>
                  <a:pt x="2745255" y="1998612"/>
                </a:lnTo>
                <a:lnTo>
                  <a:pt x="2638235" y="1998612"/>
                </a:lnTo>
                <a:lnTo>
                  <a:pt x="2638235" y="2537460"/>
                </a:lnTo>
                <a:lnTo>
                  <a:pt x="2287715" y="2537460"/>
                </a:lnTo>
                <a:lnTo>
                  <a:pt x="2287715" y="1998612"/>
                </a:lnTo>
                <a:lnTo>
                  <a:pt x="2180692" y="1998612"/>
                </a:lnTo>
                <a:lnTo>
                  <a:pt x="2180692" y="2537460"/>
                </a:lnTo>
                <a:lnTo>
                  <a:pt x="1830172" y="2537460"/>
                </a:lnTo>
                <a:lnTo>
                  <a:pt x="1830172" y="1998612"/>
                </a:lnTo>
                <a:lnTo>
                  <a:pt x="1723149" y="1998612"/>
                </a:lnTo>
                <a:lnTo>
                  <a:pt x="1723149" y="2537460"/>
                </a:lnTo>
                <a:lnTo>
                  <a:pt x="1372629" y="2537460"/>
                </a:lnTo>
                <a:lnTo>
                  <a:pt x="1372629" y="1998612"/>
                </a:lnTo>
                <a:lnTo>
                  <a:pt x="1265606" y="1998612"/>
                </a:lnTo>
                <a:lnTo>
                  <a:pt x="1265606" y="2537460"/>
                </a:lnTo>
                <a:lnTo>
                  <a:pt x="915086" y="2537460"/>
                </a:lnTo>
                <a:lnTo>
                  <a:pt x="915086" y="1998612"/>
                </a:lnTo>
                <a:lnTo>
                  <a:pt x="808063" y="1998612"/>
                </a:lnTo>
                <a:lnTo>
                  <a:pt x="808063" y="2537460"/>
                </a:lnTo>
                <a:lnTo>
                  <a:pt x="457543" y="2537460"/>
                </a:lnTo>
                <a:lnTo>
                  <a:pt x="457543" y="1998612"/>
                </a:lnTo>
                <a:lnTo>
                  <a:pt x="350520" y="1998612"/>
                </a:lnTo>
                <a:lnTo>
                  <a:pt x="350520" y="2537460"/>
                </a:lnTo>
                <a:lnTo>
                  <a:pt x="0" y="2537460"/>
                </a:lnTo>
                <a:lnTo>
                  <a:pt x="0" y="175260"/>
                </a:lnTo>
                <a:lnTo>
                  <a:pt x="0" y="160020"/>
                </a:lnTo>
                <a:lnTo>
                  <a:pt x="3077" y="160020"/>
                </a:lnTo>
                <a:lnTo>
                  <a:pt x="13773" y="107041"/>
                </a:lnTo>
                <a:cubicBezTo>
                  <a:pt x="40379" y="44138"/>
                  <a:pt x="102665" y="0"/>
                  <a:pt x="175260" y="0"/>
                </a:cubicBezTo>
                <a:close/>
              </a:path>
            </a:pathLst>
          </a:custGeom>
          <a:blipFill>
            <a:blip r:embed="rId7"/>
            <a:tile tx="0" ty="0" sx="100000" sy="100000" flip="none" algn="tl"/>
          </a:blipFill>
          <a:ln>
            <a:noFill/>
          </a:ln>
          <a:scene3d>
            <a:camera prst="isometricLeftDown">
              <a:rot lat="2100000" lon="2700000" rev="0"/>
            </a:camera>
            <a:lightRig rig="threePt" dir="t"/>
          </a:scene3d>
          <a:sp3d>
            <a:bevelT w="495300" h="508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92C3E938-A47F-F252-B53C-5B20FF92147E}"/>
              </a:ext>
            </a:extLst>
          </p:cNvPr>
          <p:cNvSpPr/>
          <p:nvPr/>
        </p:nvSpPr>
        <p:spPr>
          <a:xfrm>
            <a:off x="6613507" y="3816648"/>
            <a:ext cx="1335825" cy="853440"/>
          </a:xfrm>
          <a:custGeom>
            <a:avLst/>
            <a:gdLst>
              <a:gd name="connsiteX0" fmla="*/ 2638235 w 3095775"/>
              <a:gd name="connsiteY0" fmla="*/ 784861 h 2537460"/>
              <a:gd name="connsiteX1" fmla="*/ 2638235 w 3095775"/>
              <a:gd name="connsiteY1" fmla="*/ 1778117 h 2537460"/>
              <a:gd name="connsiteX2" fmla="*/ 2745255 w 3095775"/>
              <a:gd name="connsiteY2" fmla="*/ 1778117 h 2537460"/>
              <a:gd name="connsiteX3" fmla="*/ 2745255 w 3095775"/>
              <a:gd name="connsiteY3" fmla="*/ 784861 h 2537460"/>
              <a:gd name="connsiteX4" fmla="*/ 2180692 w 3095775"/>
              <a:gd name="connsiteY4" fmla="*/ 784861 h 2537460"/>
              <a:gd name="connsiteX5" fmla="*/ 2180692 w 3095775"/>
              <a:gd name="connsiteY5" fmla="*/ 1778117 h 2537460"/>
              <a:gd name="connsiteX6" fmla="*/ 2287715 w 3095775"/>
              <a:gd name="connsiteY6" fmla="*/ 1778117 h 2537460"/>
              <a:gd name="connsiteX7" fmla="*/ 2287715 w 3095775"/>
              <a:gd name="connsiteY7" fmla="*/ 784861 h 2537460"/>
              <a:gd name="connsiteX8" fmla="*/ 1723149 w 3095775"/>
              <a:gd name="connsiteY8" fmla="*/ 784861 h 2537460"/>
              <a:gd name="connsiteX9" fmla="*/ 1723149 w 3095775"/>
              <a:gd name="connsiteY9" fmla="*/ 1778117 h 2537460"/>
              <a:gd name="connsiteX10" fmla="*/ 1830172 w 3095775"/>
              <a:gd name="connsiteY10" fmla="*/ 1778117 h 2537460"/>
              <a:gd name="connsiteX11" fmla="*/ 1830172 w 3095775"/>
              <a:gd name="connsiteY11" fmla="*/ 784861 h 2537460"/>
              <a:gd name="connsiteX12" fmla="*/ 1265606 w 3095775"/>
              <a:gd name="connsiteY12" fmla="*/ 784861 h 2537460"/>
              <a:gd name="connsiteX13" fmla="*/ 1265606 w 3095775"/>
              <a:gd name="connsiteY13" fmla="*/ 1778117 h 2537460"/>
              <a:gd name="connsiteX14" fmla="*/ 1372629 w 3095775"/>
              <a:gd name="connsiteY14" fmla="*/ 1778117 h 2537460"/>
              <a:gd name="connsiteX15" fmla="*/ 1372629 w 3095775"/>
              <a:gd name="connsiteY15" fmla="*/ 784861 h 2537460"/>
              <a:gd name="connsiteX16" fmla="*/ 808063 w 3095775"/>
              <a:gd name="connsiteY16" fmla="*/ 784861 h 2537460"/>
              <a:gd name="connsiteX17" fmla="*/ 808063 w 3095775"/>
              <a:gd name="connsiteY17" fmla="*/ 1778117 h 2537460"/>
              <a:gd name="connsiteX18" fmla="*/ 915086 w 3095775"/>
              <a:gd name="connsiteY18" fmla="*/ 1778117 h 2537460"/>
              <a:gd name="connsiteX19" fmla="*/ 915086 w 3095775"/>
              <a:gd name="connsiteY19" fmla="*/ 784861 h 2537460"/>
              <a:gd name="connsiteX20" fmla="*/ 350520 w 3095775"/>
              <a:gd name="connsiteY20" fmla="*/ 784861 h 2537460"/>
              <a:gd name="connsiteX21" fmla="*/ 350520 w 3095775"/>
              <a:gd name="connsiteY21" fmla="*/ 1778117 h 2537460"/>
              <a:gd name="connsiteX22" fmla="*/ 457543 w 3095775"/>
              <a:gd name="connsiteY22" fmla="*/ 1778117 h 2537460"/>
              <a:gd name="connsiteX23" fmla="*/ 457543 w 3095775"/>
              <a:gd name="connsiteY23" fmla="*/ 784861 h 2537460"/>
              <a:gd name="connsiteX24" fmla="*/ 175260 w 3095775"/>
              <a:gd name="connsiteY24" fmla="*/ 0 h 2537460"/>
              <a:gd name="connsiteX25" fmla="*/ 336747 w 3095775"/>
              <a:gd name="connsiteY25" fmla="*/ 107041 h 2537460"/>
              <a:gd name="connsiteX26" fmla="*/ 347443 w 3095775"/>
              <a:gd name="connsiteY26" fmla="*/ 160020 h 2537460"/>
              <a:gd name="connsiteX27" fmla="*/ 350520 w 3095775"/>
              <a:gd name="connsiteY27" fmla="*/ 160020 h 2537460"/>
              <a:gd name="connsiteX28" fmla="*/ 350520 w 3095775"/>
              <a:gd name="connsiteY28" fmla="*/ 175260 h 2537460"/>
              <a:gd name="connsiteX29" fmla="*/ 350520 w 3095775"/>
              <a:gd name="connsiteY29" fmla="*/ 564366 h 2537460"/>
              <a:gd name="connsiteX30" fmla="*/ 457543 w 3095775"/>
              <a:gd name="connsiteY30" fmla="*/ 564366 h 2537460"/>
              <a:gd name="connsiteX31" fmla="*/ 457543 w 3095775"/>
              <a:gd name="connsiteY31" fmla="*/ 175260 h 2537460"/>
              <a:gd name="connsiteX32" fmla="*/ 457543 w 3095775"/>
              <a:gd name="connsiteY32" fmla="*/ 160020 h 2537460"/>
              <a:gd name="connsiteX33" fmla="*/ 460620 w 3095775"/>
              <a:gd name="connsiteY33" fmla="*/ 160020 h 2537460"/>
              <a:gd name="connsiteX34" fmla="*/ 471316 w 3095775"/>
              <a:gd name="connsiteY34" fmla="*/ 107041 h 2537460"/>
              <a:gd name="connsiteX35" fmla="*/ 632803 w 3095775"/>
              <a:gd name="connsiteY35" fmla="*/ 0 h 2537460"/>
              <a:gd name="connsiteX36" fmla="*/ 794290 w 3095775"/>
              <a:gd name="connsiteY36" fmla="*/ 107041 h 2537460"/>
              <a:gd name="connsiteX37" fmla="*/ 804986 w 3095775"/>
              <a:gd name="connsiteY37" fmla="*/ 160020 h 2537460"/>
              <a:gd name="connsiteX38" fmla="*/ 808063 w 3095775"/>
              <a:gd name="connsiteY38" fmla="*/ 160020 h 2537460"/>
              <a:gd name="connsiteX39" fmla="*/ 808063 w 3095775"/>
              <a:gd name="connsiteY39" fmla="*/ 175260 h 2537460"/>
              <a:gd name="connsiteX40" fmla="*/ 808063 w 3095775"/>
              <a:gd name="connsiteY40" fmla="*/ 564366 h 2537460"/>
              <a:gd name="connsiteX41" fmla="*/ 915086 w 3095775"/>
              <a:gd name="connsiteY41" fmla="*/ 564366 h 2537460"/>
              <a:gd name="connsiteX42" fmla="*/ 915086 w 3095775"/>
              <a:gd name="connsiteY42" fmla="*/ 175260 h 2537460"/>
              <a:gd name="connsiteX43" fmla="*/ 915086 w 3095775"/>
              <a:gd name="connsiteY43" fmla="*/ 160020 h 2537460"/>
              <a:gd name="connsiteX44" fmla="*/ 918163 w 3095775"/>
              <a:gd name="connsiteY44" fmla="*/ 160020 h 2537460"/>
              <a:gd name="connsiteX45" fmla="*/ 928859 w 3095775"/>
              <a:gd name="connsiteY45" fmla="*/ 107041 h 2537460"/>
              <a:gd name="connsiteX46" fmla="*/ 1090346 w 3095775"/>
              <a:gd name="connsiteY46" fmla="*/ 0 h 2537460"/>
              <a:gd name="connsiteX47" fmla="*/ 1251833 w 3095775"/>
              <a:gd name="connsiteY47" fmla="*/ 107041 h 2537460"/>
              <a:gd name="connsiteX48" fmla="*/ 1262529 w 3095775"/>
              <a:gd name="connsiteY48" fmla="*/ 160020 h 2537460"/>
              <a:gd name="connsiteX49" fmla="*/ 1265606 w 3095775"/>
              <a:gd name="connsiteY49" fmla="*/ 160020 h 2537460"/>
              <a:gd name="connsiteX50" fmla="*/ 1265606 w 3095775"/>
              <a:gd name="connsiteY50" fmla="*/ 175260 h 2537460"/>
              <a:gd name="connsiteX51" fmla="*/ 1265606 w 3095775"/>
              <a:gd name="connsiteY51" fmla="*/ 564366 h 2537460"/>
              <a:gd name="connsiteX52" fmla="*/ 1372629 w 3095775"/>
              <a:gd name="connsiteY52" fmla="*/ 564366 h 2537460"/>
              <a:gd name="connsiteX53" fmla="*/ 1372629 w 3095775"/>
              <a:gd name="connsiteY53" fmla="*/ 175260 h 2537460"/>
              <a:gd name="connsiteX54" fmla="*/ 1372629 w 3095775"/>
              <a:gd name="connsiteY54" fmla="*/ 160020 h 2537460"/>
              <a:gd name="connsiteX55" fmla="*/ 1375706 w 3095775"/>
              <a:gd name="connsiteY55" fmla="*/ 160020 h 2537460"/>
              <a:gd name="connsiteX56" fmla="*/ 1386402 w 3095775"/>
              <a:gd name="connsiteY56" fmla="*/ 107041 h 2537460"/>
              <a:gd name="connsiteX57" fmla="*/ 1547889 w 3095775"/>
              <a:gd name="connsiteY57" fmla="*/ 0 h 2537460"/>
              <a:gd name="connsiteX58" fmla="*/ 1709376 w 3095775"/>
              <a:gd name="connsiteY58" fmla="*/ 107041 h 2537460"/>
              <a:gd name="connsiteX59" fmla="*/ 1720072 w 3095775"/>
              <a:gd name="connsiteY59" fmla="*/ 160020 h 2537460"/>
              <a:gd name="connsiteX60" fmla="*/ 1723149 w 3095775"/>
              <a:gd name="connsiteY60" fmla="*/ 160020 h 2537460"/>
              <a:gd name="connsiteX61" fmla="*/ 1723149 w 3095775"/>
              <a:gd name="connsiteY61" fmla="*/ 175260 h 2537460"/>
              <a:gd name="connsiteX62" fmla="*/ 1723149 w 3095775"/>
              <a:gd name="connsiteY62" fmla="*/ 564366 h 2537460"/>
              <a:gd name="connsiteX63" fmla="*/ 1830172 w 3095775"/>
              <a:gd name="connsiteY63" fmla="*/ 564366 h 2537460"/>
              <a:gd name="connsiteX64" fmla="*/ 1830172 w 3095775"/>
              <a:gd name="connsiteY64" fmla="*/ 175260 h 2537460"/>
              <a:gd name="connsiteX65" fmla="*/ 1830172 w 3095775"/>
              <a:gd name="connsiteY65" fmla="*/ 160020 h 2537460"/>
              <a:gd name="connsiteX66" fmla="*/ 1833249 w 3095775"/>
              <a:gd name="connsiteY66" fmla="*/ 160020 h 2537460"/>
              <a:gd name="connsiteX67" fmla="*/ 1843945 w 3095775"/>
              <a:gd name="connsiteY67" fmla="*/ 107041 h 2537460"/>
              <a:gd name="connsiteX68" fmla="*/ 2005432 w 3095775"/>
              <a:gd name="connsiteY68" fmla="*/ 0 h 2537460"/>
              <a:gd name="connsiteX69" fmla="*/ 2166919 w 3095775"/>
              <a:gd name="connsiteY69" fmla="*/ 107041 h 2537460"/>
              <a:gd name="connsiteX70" fmla="*/ 2177615 w 3095775"/>
              <a:gd name="connsiteY70" fmla="*/ 160020 h 2537460"/>
              <a:gd name="connsiteX71" fmla="*/ 2180692 w 3095775"/>
              <a:gd name="connsiteY71" fmla="*/ 160020 h 2537460"/>
              <a:gd name="connsiteX72" fmla="*/ 2180692 w 3095775"/>
              <a:gd name="connsiteY72" fmla="*/ 175260 h 2537460"/>
              <a:gd name="connsiteX73" fmla="*/ 2180692 w 3095775"/>
              <a:gd name="connsiteY73" fmla="*/ 564366 h 2537460"/>
              <a:gd name="connsiteX74" fmla="*/ 2287715 w 3095775"/>
              <a:gd name="connsiteY74" fmla="*/ 564366 h 2537460"/>
              <a:gd name="connsiteX75" fmla="*/ 2287715 w 3095775"/>
              <a:gd name="connsiteY75" fmla="*/ 175260 h 2537460"/>
              <a:gd name="connsiteX76" fmla="*/ 2287715 w 3095775"/>
              <a:gd name="connsiteY76" fmla="*/ 160020 h 2537460"/>
              <a:gd name="connsiteX77" fmla="*/ 2290792 w 3095775"/>
              <a:gd name="connsiteY77" fmla="*/ 160020 h 2537460"/>
              <a:gd name="connsiteX78" fmla="*/ 2301488 w 3095775"/>
              <a:gd name="connsiteY78" fmla="*/ 107041 h 2537460"/>
              <a:gd name="connsiteX79" fmla="*/ 2462975 w 3095775"/>
              <a:gd name="connsiteY79" fmla="*/ 0 h 2537460"/>
              <a:gd name="connsiteX80" fmla="*/ 2624462 w 3095775"/>
              <a:gd name="connsiteY80" fmla="*/ 107041 h 2537460"/>
              <a:gd name="connsiteX81" fmla="*/ 2635158 w 3095775"/>
              <a:gd name="connsiteY81" fmla="*/ 160020 h 2537460"/>
              <a:gd name="connsiteX82" fmla="*/ 2638235 w 3095775"/>
              <a:gd name="connsiteY82" fmla="*/ 160020 h 2537460"/>
              <a:gd name="connsiteX83" fmla="*/ 2638235 w 3095775"/>
              <a:gd name="connsiteY83" fmla="*/ 175260 h 2537460"/>
              <a:gd name="connsiteX84" fmla="*/ 2638235 w 3095775"/>
              <a:gd name="connsiteY84" fmla="*/ 564366 h 2537460"/>
              <a:gd name="connsiteX85" fmla="*/ 2745255 w 3095775"/>
              <a:gd name="connsiteY85" fmla="*/ 564366 h 2537460"/>
              <a:gd name="connsiteX86" fmla="*/ 2745255 w 3095775"/>
              <a:gd name="connsiteY86" fmla="*/ 175260 h 2537460"/>
              <a:gd name="connsiteX87" fmla="*/ 2745255 w 3095775"/>
              <a:gd name="connsiteY87" fmla="*/ 160020 h 2537460"/>
              <a:gd name="connsiteX88" fmla="*/ 2748332 w 3095775"/>
              <a:gd name="connsiteY88" fmla="*/ 160020 h 2537460"/>
              <a:gd name="connsiteX89" fmla="*/ 2759028 w 3095775"/>
              <a:gd name="connsiteY89" fmla="*/ 107041 h 2537460"/>
              <a:gd name="connsiteX90" fmla="*/ 2920515 w 3095775"/>
              <a:gd name="connsiteY90" fmla="*/ 0 h 2537460"/>
              <a:gd name="connsiteX91" fmla="*/ 3082002 w 3095775"/>
              <a:gd name="connsiteY91" fmla="*/ 107041 h 2537460"/>
              <a:gd name="connsiteX92" fmla="*/ 3092698 w 3095775"/>
              <a:gd name="connsiteY92" fmla="*/ 160020 h 2537460"/>
              <a:gd name="connsiteX93" fmla="*/ 3095775 w 3095775"/>
              <a:gd name="connsiteY93" fmla="*/ 160020 h 2537460"/>
              <a:gd name="connsiteX94" fmla="*/ 3095775 w 3095775"/>
              <a:gd name="connsiteY94" fmla="*/ 175260 h 2537460"/>
              <a:gd name="connsiteX95" fmla="*/ 3095775 w 3095775"/>
              <a:gd name="connsiteY95" fmla="*/ 2537460 h 2537460"/>
              <a:gd name="connsiteX96" fmla="*/ 2745255 w 3095775"/>
              <a:gd name="connsiteY96" fmla="*/ 2537460 h 2537460"/>
              <a:gd name="connsiteX97" fmla="*/ 2745255 w 3095775"/>
              <a:gd name="connsiteY97" fmla="*/ 1998612 h 2537460"/>
              <a:gd name="connsiteX98" fmla="*/ 2638235 w 3095775"/>
              <a:gd name="connsiteY98" fmla="*/ 1998612 h 2537460"/>
              <a:gd name="connsiteX99" fmla="*/ 2638235 w 3095775"/>
              <a:gd name="connsiteY99" fmla="*/ 2537460 h 2537460"/>
              <a:gd name="connsiteX100" fmla="*/ 2287715 w 3095775"/>
              <a:gd name="connsiteY100" fmla="*/ 2537460 h 2537460"/>
              <a:gd name="connsiteX101" fmla="*/ 2287715 w 3095775"/>
              <a:gd name="connsiteY101" fmla="*/ 1998612 h 2537460"/>
              <a:gd name="connsiteX102" fmla="*/ 2180692 w 3095775"/>
              <a:gd name="connsiteY102" fmla="*/ 1998612 h 2537460"/>
              <a:gd name="connsiteX103" fmla="*/ 2180692 w 3095775"/>
              <a:gd name="connsiteY103" fmla="*/ 2537460 h 2537460"/>
              <a:gd name="connsiteX104" fmla="*/ 1830172 w 3095775"/>
              <a:gd name="connsiteY104" fmla="*/ 2537460 h 2537460"/>
              <a:gd name="connsiteX105" fmla="*/ 1830172 w 3095775"/>
              <a:gd name="connsiteY105" fmla="*/ 1998612 h 2537460"/>
              <a:gd name="connsiteX106" fmla="*/ 1723149 w 3095775"/>
              <a:gd name="connsiteY106" fmla="*/ 1998612 h 2537460"/>
              <a:gd name="connsiteX107" fmla="*/ 1723149 w 3095775"/>
              <a:gd name="connsiteY107" fmla="*/ 2537460 h 2537460"/>
              <a:gd name="connsiteX108" fmla="*/ 1372629 w 3095775"/>
              <a:gd name="connsiteY108" fmla="*/ 2537460 h 2537460"/>
              <a:gd name="connsiteX109" fmla="*/ 1372629 w 3095775"/>
              <a:gd name="connsiteY109" fmla="*/ 1998612 h 2537460"/>
              <a:gd name="connsiteX110" fmla="*/ 1265606 w 3095775"/>
              <a:gd name="connsiteY110" fmla="*/ 1998612 h 2537460"/>
              <a:gd name="connsiteX111" fmla="*/ 1265606 w 3095775"/>
              <a:gd name="connsiteY111" fmla="*/ 2537460 h 2537460"/>
              <a:gd name="connsiteX112" fmla="*/ 915086 w 3095775"/>
              <a:gd name="connsiteY112" fmla="*/ 2537460 h 2537460"/>
              <a:gd name="connsiteX113" fmla="*/ 915086 w 3095775"/>
              <a:gd name="connsiteY113" fmla="*/ 1998612 h 2537460"/>
              <a:gd name="connsiteX114" fmla="*/ 808063 w 3095775"/>
              <a:gd name="connsiteY114" fmla="*/ 1998612 h 2537460"/>
              <a:gd name="connsiteX115" fmla="*/ 808063 w 3095775"/>
              <a:gd name="connsiteY115" fmla="*/ 2537460 h 2537460"/>
              <a:gd name="connsiteX116" fmla="*/ 457543 w 3095775"/>
              <a:gd name="connsiteY116" fmla="*/ 2537460 h 2537460"/>
              <a:gd name="connsiteX117" fmla="*/ 457543 w 3095775"/>
              <a:gd name="connsiteY117" fmla="*/ 1998612 h 2537460"/>
              <a:gd name="connsiteX118" fmla="*/ 350520 w 3095775"/>
              <a:gd name="connsiteY118" fmla="*/ 1998612 h 2537460"/>
              <a:gd name="connsiteX119" fmla="*/ 350520 w 3095775"/>
              <a:gd name="connsiteY119" fmla="*/ 2537460 h 2537460"/>
              <a:gd name="connsiteX120" fmla="*/ 0 w 3095775"/>
              <a:gd name="connsiteY120" fmla="*/ 2537460 h 2537460"/>
              <a:gd name="connsiteX121" fmla="*/ 0 w 3095775"/>
              <a:gd name="connsiteY121" fmla="*/ 175260 h 2537460"/>
              <a:gd name="connsiteX122" fmla="*/ 0 w 3095775"/>
              <a:gd name="connsiteY122" fmla="*/ 160020 h 2537460"/>
              <a:gd name="connsiteX123" fmla="*/ 3077 w 3095775"/>
              <a:gd name="connsiteY123" fmla="*/ 160020 h 2537460"/>
              <a:gd name="connsiteX124" fmla="*/ 13773 w 3095775"/>
              <a:gd name="connsiteY124" fmla="*/ 107041 h 2537460"/>
              <a:gd name="connsiteX125" fmla="*/ 175260 w 3095775"/>
              <a:gd name="connsiteY125" fmla="*/ 0 h 2537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3095775" h="2537460">
                <a:moveTo>
                  <a:pt x="2638235" y="784861"/>
                </a:moveTo>
                <a:lnTo>
                  <a:pt x="2638235" y="1778117"/>
                </a:lnTo>
                <a:lnTo>
                  <a:pt x="2745255" y="1778117"/>
                </a:lnTo>
                <a:lnTo>
                  <a:pt x="2745255" y="784861"/>
                </a:lnTo>
                <a:close/>
                <a:moveTo>
                  <a:pt x="2180692" y="784861"/>
                </a:moveTo>
                <a:lnTo>
                  <a:pt x="2180692" y="1778117"/>
                </a:lnTo>
                <a:lnTo>
                  <a:pt x="2287715" y="1778117"/>
                </a:lnTo>
                <a:lnTo>
                  <a:pt x="2287715" y="784861"/>
                </a:lnTo>
                <a:close/>
                <a:moveTo>
                  <a:pt x="1723149" y="784861"/>
                </a:moveTo>
                <a:lnTo>
                  <a:pt x="1723149" y="1778117"/>
                </a:lnTo>
                <a:lnTo>
                  <a:pt x="1830172" y="1778117"/>
                </a:lnTo>
                <a:lnTo>
                  <a:pt x="1830172" y="784861"/>
                </a:lnTo>
                <a:close/>
                <a:moveTo>
                  <a:pt x="1265606" y="784861"/>
                </a:moveTo>
                <a:lnTo>
                  <a:pt x="1265606" y="1778117"/>
                </a:lnTo>
                <a:lnTo>
                  <a:pt x="1372629" y="1778117"/>
                </a:lnTo>
                <a:lnTo>
                  <a:pt x="1372629" y="784861"/>
                </a:lnTo>
                <a:close/>
                <a:moveTo>
                  <a:pt x="808063" y="784861"/>
                </a:moveTo>
                <a:lnTo>
                  <a:pt x="808063" y="1778117"/>
                </a:lnTo>
                <a:lnTo>
                  <a:pt x="915086" y="1778117"/>
                </a:lnTo>
                <a:lnTo>
                  <a:pt x="915086" y="784861"/>
                </a:lnTo>
                <a:close/>
                <a:moveTo>
                  <a:pt x="350520" y="784861"/>
                </a:moveTo>
                <a:lnTo>
                  <a:pt x="350520" y="1778117"/>
                </a:lnTo>
                <a:lnTo>
                  <a:pt x="457543" y="1778117"/>
                </a:lnTo>
                <a:lnTo>
                  <a:pt x="457543" y="784861"/>
                </a:lnTo>
                <a:close/>
                <a:moveTo>
                  <a:pt x="175260" y="0"/>
                </a:moveTo>
                <a:cubicBezTo>
                  <a:pt x="247855" y="0"/>
                  <a:pt x="310141" y="44138"/>
                  <a:pt x="336747" y="107041"/>
                </a:cubicBezTo>
                <a:lnTo>
                  <a:pt x="347443" y="160020"/>
                </a:lnTo>
                <a:lnTo>
                  <a:pt x="350520" y="160020"/>
                </a:lnTo>
                <a:lnTo>
                  <a:pt x="350520" y="175260"/>
                </a:lnTo>
                <a:lnTo>
                  <a:pt x="350520" y="564366"/>
                </a:lnTo>
                <a:lnTo>
                  <a:pt x="457543" y="564366"/>
                </a:lnTo>
                <a:lnTo>
                  <a:pt x="457543" y="175260"/>
                </a:lnTo>
                <a:lnTo>
                  <a:pt x="457543" y="160020"/>
                </a:lnTo>
                <a:lnTo>
                  <a:pt x="460620" y="160020"/>
                </a:lnTo>
                <a:lnTo>
                  <a:pt x="471316" y="107041"/>
                </a:lnTo>
                <a:cubicBezTo>
                  <a:pt x="497922" y="44138"/>
                  <a:pt x="560208" y="0"/>
                  <a:pt x="632803" y="0"/>
                </a:cubicBezTo>
                <a:cubicBezTo>
                  <a:pt x="705398" y="0"/>
                  <a:pt x="767684" y="44138"/>
                  <a:pt x="794290" y="107041"/>
                </a:cubicBezTo>
                <a:lnTo>
                  <a:pt x="804986" y="160020"/>
                </a:lnTo>
                <a:lnTo>
                  <a:pt x="808063" y="160020"/>
                </a:lnTo>
                <a:lnTo>
                  <a:pt x="808063" y="175260"/>
                </a:lnTo>
                <a:lnTo>
                  <a:pt x="808063" y="564366"/>
                </a:lnTo>
                <a:lnTo>
                  <a:pt x="915086" y="564366"/>
                </a:lnTo>
                <a:lnTo>
                  <a:pt x="915086" y="175260"/>
                </a:lnTo>
                <a:lnTo>
                  <a:pt x="915086" y="160020"/>
                </a:lnTo>
                <a:lnTo>
                  <a:pt x="918163" y="160020"/>
                </a:lnTo>
                <a:lnTo>
                  <a:pt x="928859" y="107041"/>
                </a:lnTo>
                <a:cubicBezTo>
                  <a:pt x="955465" y="44138"/>
                  <a:pt x="1017751" y="0"/>
                  <a:pt x="1090346" y="0"/>
                </a:cubicBezTo>
                <a:cubicBezTo>
                  <a:pt x="1162941" y="0"/>
                  <a:pt x="1225227" y="44138"/>
                  <a:pt x="1251833" y="107041"/>
                </a:cubicBezTo>
                <a:lnTo>
                  <a:pt x="1262529" y="160020"/>
                </a:lnTo>
                <a:lnTo>
                  <a:pt x="1265606" y="160020"/>
                </a:lnTo>
                <a:lnTo>
                  <a:pt x="1265606" y="175260"/>
                </a:lnTo>
                <a:lnTo>
                  <a:pt x="1265606" y="564366"/>
                </a:lnTo>
                <a:lnTo>
                  <a:pt x="1372629" y="564366"/>
                </a:lnTo>
                <a:lnTo>
                  <a:pt x="1372629" y="175260"/>
                </a:lnTo>
                <a:lnTo>
                  <a:pt x="1372629" y="160020"/>
                </a:lnTo>
                <a:lnTo>
                  <a:pt x="1375706" y="160020"/>
                </a:lnTo>
                <a:lnTo>
                  <a:pt x="1386402" y="107041"/>
                </a:lnTo>
                <a:cubicBezTo>
                  <a:pt x="1413008" y="44138"/>
                  <a:pt x="1475294" y="0"/>
                  <a:pt x="1547889" y="0"/>
                </a:cubicBezTo>
                <a:cubicBezTo>
                  <a:pt x="1620484" y="0"/>
                  <a:pt x="1682770" y="44138"/>
                  <a:pt x="1709376" y="107041"/>
                </a:cubicBezTo>
                <a:lnTo>
                  <a:pt x="1720072" y="160020"/>
                </a:lnTo>
                <a:lnTo>
                  <a:pt x="1723149" y="160020"/>
                </a:lnTo>
                <a:lnTo>
                  <a:pt x="1723149" y="175260"/>
                </a:lnTo>
                <a:lnTo>
                  <a:pt x="1723149" y="564366"/>
                </a:lnTo>
                <a:lnTo>
                  <a:pt x="1830172" y="564366"/>
                </a:lnTo>
                <a:lnTo>
                  <a:pt x="1830172" y="175260"/>
                </a:lnTo>
                <a:lnTo>
                  <a:pt x="1830172" y="160020"/>
                </a:lnTo>
                <a:lnTo>
                  <a:pt x="1833249" y="160020"/>
                </a:lnTo>
                <a:lnTo>
                  <a:pt x="1843945" y="107041"/>
                </a:lnTo>
                <a:cubicBezTo>
                  <a:pt x="1870551" y="44138"/>
                  <a:pt x="1932837" y="0"/>
                  <a:pt x="2005432" y="0"/>
                </a:cubicBezTo>
                <a:cubicBezTo>
                  <a:pt x="2078027" y="0"/>
                  <a:pt x="2140313" y="44138"/>
                  <a:pt x="2166919" y="107041"/>
                </a:cubicBezTo>
                <a:lnTo>
                  <a:pt x="2177615" y="160020"/>
                </a:lnTo>
                <a:lnTo>
                  <a:pt x="2180692" y="160020"/>
                </a:lnTo>
                <a:lnTo>
                  <a:pt x="2180692" y="175260"/>
                </a:lnTo>
                <a:lnTo>
                  <a:pt x="2180692" y="564366"/>
                </a:lnTo>
                <a:lnTo>
                  <a:pt x="2287715" y="564366"/>
                </a:lnTo>
                <a:lnTo>
                  <a:pt x="2287715" y="175260"/>
                </a:lnTo>
                <a:lnTo>
                  <a:pt x="2287715" y="160020"/>
                </a:lnTo>
                <a:lnTo>
                  <a:pt x="2290792" y="160020"/>
                </a:lnTo>
                <a:lnTo>
                  <a:pt x="2301488" y="107041"/>
                </a:lnTo>
                <a:cubicBezTo>
                  <a:pt x="2328094" y="44138"/>
                  <a:pt x="2390380" y="0"/>
                  <a:pt x="2462975" y="0"/>
                </a:cubicBezTo>
                <a:cubicBezTo>
                  <a:pt x="2535570" y="0"/>
                  <a:pt x="2597856" y="44138"/>
                  <a:pt x="2624462" y="107041"/>
                </a:cubicBezTo>
                <a:lnTo>
                  <a:pt x="2635158" y="160020"/>
                </a:lnTo>
                <a:lnTo>
                  <a:pt x="2638235" y="160020"/>
                </a:lnTo>
                <a:lnTo>
                  <a:pt x="2638235" y="175260"/>
                </a:lnTo>
                <a:lnTo>
                  <a:pt x="2638235" y="564366"/>
                </a:lnTo>
                <a:lnTo>
                  <a:pt x="2745255" y="564366"/>
                </a:lnTo>
                <a:lnTo>
                  <a:pt x="2745255" y="175260"/>
                </a:lnTo>
                <a:lnTo>
                  <a:pt x="2745255" y="160020"/>
                </a:lnTo>
                <a:lnTo>
                  <a:pt x="2748332" y="160020"/>
                </a:lnTo>
                <a:lnTo>
                  <a:pt x="2759028" y="107041"/>
                </a:lnTo>
                <a:cubicBezTo>
                  <a:pt x="2785634" y="44138"/>
                  <a:pt x="2847920" y="0"/>
                  <a:pt x="2920515" y="0"/>
                </a:cubicBezTo>
                <a:cubicBezTo>
                  <a:pt x="2993110" y="0"/>
                  <a:pt x="3055396" y="44138"/>
                  <a:pt x="3082002" y="107041"/>
                </a:cubicBezTo>
                <a:lnTo>
                  <a:pt x="3092698" y="160020"/>
                </a:lnTo>
                <a:lnTo>
                  <a:pt x="3095775" y="160020"/>
                </a:lnTo>
                <a:lnTo>
                  <a:pt x="3095775" y="175260"/>
                </a:lnTo>
                <a:lnTo>
                  <a:pt x="3095775" y="2537460"/>
                </a:lnTo>
                <a:lnTo>
                  <a:pt x="2745255" y="2537460"/>
                </a:lnTo>
                <a:lnTo>
                  <a:pt x="2745255" y="1998612"/>
                </a:lnTo>
                <a:lnTo>
                  <a:pt x="2638235" y="1998612"/>
                </a:lnTo>
                <a:lnTo>
                  <a:pt x="2638235" y="2537460"/>
                </a:lnTo>
                <a:lnTo>
                  <a:pt x="2287715" y="2537460"/>
                </a:lnTo>
                <a:lnTo>
                  <a:pt x="2287715" y="1998612"/>
                </a:lnTo>
                <a:lnTo>
                  <a:pt x="2180692" y="1998612"/>
                </a:lnTo>
                <a:lnTo>
                  <a:pt x="2180692" y="2537460"/>
                </a:lnTo>
                <a:lnTo>
                  <a:pt x="1830172" y="2537460"/>
                </a:lnTo>
                <a:lnTo>
                  <a:pt x="1830172" y="1998612"/>
                </a:lnTo>
                <a:lnTo>
                  <a:pt x="1723149" y="1998612"/>
                </a:lnTo>
                <a:lnTo>
                  <a:pt x="1723149" y="2537460"/>
                </a:lnTo>
                <a:lnTo>
                  <a:pt x="1372629" y="2537460"/>
                </a:lnTo>
                <a:lnTo>
                  <a:pt x="1372629" y="1998612"/>
                </a:lnTo>
                <a:lnTo>
                  <a:pt x="1265606" y="1998612"/>
                </a:lnTo>
                <a:lnTo>
                  <a:pt x="1265606" y="2537460"/>
                </a:lnTo>
                <a:lnTo>
                  <a:pt x="915086" y="2537460"/>
                </a:lnTo>
                <a:lnTo>
                  <a:pt x="915086" y="1998612"/>
                </a:lnTo>
                <a:lnTo>
                  <a:pt x="808063" y="1998612"/>
                </a:lnTo>
                <a:lnTo>
                  <a:pt x="808063" y="2537460"/>
                </a:lnTo>
                <a:lnTo>
                  <a:pt x="457543" y="2537460"/>
                </a:lnTo>
                <a:lnTo>
                  <a:pt x="457543" y="1998612"/>
                </a:lnTo>
                <a:lnTo>
                  <a:pt x="350520" y="1998612"/>
                </a:lnTo>
                <a:lnTo>
                  <a:pt x="350520" y="2537460"/>
                </a:lnTo>
                <a:lnTo>
                  <a:pt x="0" y="2537460"/>
                </a:lnTo>
                <a:lnTo>
                  <a:pt x="0" y="175260"/>
                </a:lnTo>
                <a:lnTo>
                  <a:pt x="0" y="160020"/>
                </a:lnTo>
                <a:lnTo>
                  <a:pt x="3077" y="160020"/>
                </a:lnTo>
                <a:lnTo>
                  <a:pt x="13773" y="107041"/>
                </a:lnTo>
                <a:cubicBezTo>
                  <a:pt x="40379" y="44138"/>
                  <a:pt x="102665" y="0"/>
                  <a:pt x="175260" y="0"/>
                </a:cubicBezTo>
                <a:close/>
              </a:path>
            </a:pathLst>
          </a:custGeom>
          <a:blipFill>
            <a:blip r:embed="rId7"/>
            <a:tile tx="0" ty="0" sx="100000" sy="100000" flip="none" algn="tl"/>
          </a:blipFill>
          <a:ln>
            <a:noFill/>
          </a:ln>
          <a:scene3d>
            <a:camera prst="isometricRightUp"/>
            <a:lightRig rig="threePt" dir="t"/>
          </a:scene3d>
          <a:sp3d>
            <a:bevelT w="495300" h="508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C110F88-535E-CA60-AA12-16E54CEFF9E0}"/>
              </a:ext>
            </a:extLst>
          </p:cNvPr>
          <p:cNvGrpSpPr/>
          <p:nvPr/>
        </p:nvGrpSpPr>
        <p:grpSpPr>
          <a:xfrm>
            <a:off x="591062" y="674854"/>
            <a:ext cx="2767495" cy="1082388"/>
            <a:chOff x="1204520" y="1929481"/>
            <a:chExt cx="3403383" cy="1331088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7C97AD40-176B-8E44-776A-26DACCB802DB}"/>
                </a:ext>
              </a:extLst>
            </p:cNvPr>
            <p:cNvSpPr txBox="1"/>
            <p:nvPr/>
          </p:nvSpPr>
          <p:spPr>
            <a:xfrm>
              <a:off x="2675751" y="2133360"/>
              <a:ext cx="193215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Connected</a:t>
              </a:r>
              <a:r>
                <a:rPr lang="fr-FR" dirty="0"/>
                <a:t> </a:t>
              </a:r>
              <a:r>
                <a:rPr lang="fr-FR" dirty="0" err="1"/>
                <a:t>gardens</a:t>
              </a:r>
              <a:endParaRPr lang="fr-FR" dirty="0"/>
            </a:p>
            <a:p>
              <a:r>
                <a:rPr lang="fr-FR" dirty="0"/>
                <a:t>in the </a:t>
              </a:r>
              <a:r>
                <a:rPr lang="fr-FR" dirty="0" err="1"/>
                <a:t>cities</a:t>
              </a:r>
              <a:endParaRPr lang="fr-FR" dirty="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7AEF2141-39BF-8724-5F24-60C650726872}"/>
                </a:ext>
              </a:extLst>
            </p:cNvPr>
            <p:cNvSpPr/>
            <p:nvPr/>
          </p:nvSpPr>
          <p:spPr>
            <a:xfrm>
              <a:off x="1204520" y="1929481"/>
              <a:ext cx="1331088" cy="1331088"/>
            </a:xfrm>
            <a:custGeom>
              <a:avLst/>
              <a:gdLst/>
              <a:ahLst/>
              <a:cxnLst/>
              <a:rect l="l" t="t" r="r" b="b"/>
              <a:pathLst>
                <a:path w="1331088" h="1331088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95276"/>
                    <a:pt x="1214692" y="1097821"/>
                    <a:pt x="1037656" y="1217424"/>
                  </a:cubicBezTo>
                  <a:lnTo>
                    <a:pt x="969846" y="1254230"/>
                  </a:lnTo>
                  <a:lnTo>
                    <a:pt x="969846" y="290791"/>
                  </a:lnTo>
                  <a:lnTo>
                    <a:pt x="754194" y="290791"/>
                  </a:lnTo>
                  <a:cubicBezTo>
                    <a:pt x="730803" y="321598"/>
                    <a:pt x="704132" y="349981"/>
                    <a:pt x="674180" y="375939"/>
                  </a:cubicBezTo>
                  <a:cubicBezTo>
                    <a:pt x="644228" y="401897"/>
                    <a:pt x="609427" y="424575"/>
                    <a:pt x="569777" y="443972"/>
                  </a:cubicBezTo>
                  <a:cubicBezTo>
                    <a:pt x="530127" y="463369"/>
                    <a:pt x="484058" y="478773"/>
                    <a:pt x="431572" y="490183"/>
                  </a:cubicBezTo>
                  <a:lnTo>
                    <a:pt x="431572" y="700701"/>
                  </a:lnTo>
                  <a:cubicBezTo>
                    <a:pt x="483488" y="693284"/>
                    <a:pt x="528415" y="682302"/>
                    <a:pt x="566354" y="667754"/>
                  </a:cubicBezTo>
                  <a:cubicBezTo>
                    <a:pt x="604293" y="653206"/>
                    <a:pt x="636669" y="636376"/>
                    <a:pt x="663483" y="617264"/>
                  </a:cubicBezTo>
                  <a:cubicBezTo>
                    <a:pt x="690297" y="598152"/>
                    <a:pt x="712832" y="578042"/>
                    <a:pt x="731088" y="556933"/>
                  </a:cubicBezTo>
                  <a:lnTo>
                    <a:pt x="731088" y="1324481"/>
                  </a:lnTo>
                  <a:lnTo>
                    <a:pt x="665544" y="1331088"/>
                  </a:lnTo>
                  <a:cubicBezTo>
                    <a:pt x="297974" y="1331088"/>
                    <a:pt x="0" y="1033114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439956B-C652-5FFA-C558-7C8F58AE868A}"/>
              </a:ext>
            </a:extLst>
          </p:cNvPr>
          <p:cNvGrpSpPr/>
          <p:nvPr/>
        </p:nvGrpSpPr>
        <p:grpSpPr>
          <a:xfrm>
            <a:off x="2784893" y="4825815"/>
            <a:ext cx="1147327" cy="1745399"/>
            <a:chOff x="2655944" y="2257471"/>
            <a:chExt cx="1765041" cy="2685111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F9AC503-FCA5-3F23-5819-5FDECA78E37C}"/>
                </a:ext>
              </a:extLst>
            </p:cNvPr>
            <p:cNvGrpSpPr/>
            <p:nvPr/>
          </p:nvGrpSpPr>
          <p:grpSpPr>
            <a:xfrm>
              <a:off x="3111778" y="3863343"/>
              <a:ext cx="853372" cy="1079239"/>
              <a:chOff x="3125920" y="3863343"/>
              <a:chExt cx="853372" cy="1079239"/>
            </a:xfrm>
          </p:grpSpPr>
          <p:sp>
            <p:nvSpPr>
              <p:cNvPr id="72" name="Rectangle: Diagonal Corners Snipped 71">
                <a:extLst>
                  <a:ext uri="{FF2B5EF4-FFF2-40B4-BE49-F238E27FC236}">
                    <a16:creationId xmlns:a16="http://schemas.microsoft.com/office/drawing/2014/main" id="{29E85919-A33F-D4A3-0DE1-DC00479FB88C}"/>
                  </a:ext>
                </a:extLst>
              </p:cNvPr>
              <p:cNvSpPr/>
              <p:nvPr/>
            </p:nvSpPr>
            <p:spPr>
              <a:xfrm rot="5400000">
                <a:off x="2730388" y="4258875"/>
                <a:ext cx="1079239" cy="288175"/>
              </a:xfrm>
              <a:prstGeom prst="snip2DiagRect">
                <a:avLst>
                  <a:gd name="adj1" fmla="val 0"/>
                  <a:gd name="adj2" fmla="val 50000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 w="571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73" name="Rectangle: Diagonal Corners Snipped 72">
                <a:extLst>
                  <a:ext uri="{FF2B5EF4-FFF2-40B4-BE49-F238E27FC236}">
                    <a16:creationId xmlns:a16="http://schemas.microsoft.com/office/drawing/2014/main" id="{46C509E5-81C7-2277-F23F-524DB86D3A81}"/>
                  </a:ext>
                </a:extLst>
              </p:cNvPr>
              <p:cNvSpPr/>
              <p:nvPr/>
            </p:nvSpPr>
            <p:spPr>
              <a:xfrm rot="16200000" flipH="1">
                <a:off x="3295585" y="4258875"/>
                <a:ext cx="1079239" cy="288175"/>
              </a:xfrm>
              <a:prstGeom prst="snip2DiagRect">
                <a:avLst>
                  <a:gd name="adj1" fmla="val 0"/>
                  <a:gd name="adj2" fmla="val 50000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 w="571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DE72420F-E680-361B-0D70-9F8402595D49}"/>
                </a:ext>
              </a:extLst>
            </p:cNvPr>
            <p:cNvSpPr/>
            <p:nvPr/>
          </p:nvSpPr>
          <p:spPr>
            <a:xfrm>
              <a:off x="2655944" y="2257471"/>
              <a:ext cx="1765041" cy="1489125"/>
            </a:xfrm>
            <a:custGeom>
              <a:avLst/>
              <a:gdLst>
                <a:gd name="connsiteX0" fmla="*/ 94400 w 1765041"/>
                <a:gd name="connsiteY0" fmla="*/ 311 h 1489125"/>
                <a:gd name="connsiteX1" fmla="*/ 407296 w 1765041"/>
                <a:gd name="connsiteY1" fmla="*/ 74249 h 1489125"/>
                <a:gd name="connsiteX2" fmla="*/ 757816 w 1765041"/>
                <a:gd name="connsiteY2" fmla="*/ 348569 h 1489125"/>
                <a:gd name="connsiteX3" fmla="*/ 880867 w 1765041"/>
                <a:gd name="connsiteY3" fmla="*/ 550916 h 1489125"/>
                <a:gd name="connsiteX4" fmla="*/ 882521 w 1765041"/>
                <a:gd name="connsiteY4" fmla="*/ 557987 h 1489125"/>
                <a:gd name="connsiteX5" fmla="*/ 884174 w 1765041"/>
                <a:gd name="connsiteY5" fmla="*/ 550916 h 1489125"/>
                <a:gd name="connsiteX6" fmla="*/ 1007225 w 1765041"/>
                <a:gd name="connsiteY6" fmla="*/ 348569 h 1489125"/>
                <a:gd name="connsiteX7" fmla="*/ 1357745 w 1765041"/>
                <a:gd name="connsiteY7" fmla="*/ 74249 h 1489125"/>
                <a:gd name="connsiteX8" fmla="*/ 1738745 w 1765041"/>
                <a:gd name="connsiteY8" fmla="*/ 5669 h 1489125"/>
                <a:gd name="connsiteX9" fmla="*/ 1723505 w 1765041"/>
                <a:gd name="connsiteY9" fmla="*/ 188549 h 1489125"/>
                <a:gd name="connsiteX10" fmla="*/ 1654925 w 1765041"/>
                <a:gd name="connsiteY10" fmla="*/ 500969 h 1489125"/>
                <a:gd name="connsiteX11" fmla="*/ 1334885 w 1765041"/>
                <a:gd name="connsiteY11" fmla="*/ 836249 h 1489125"/>
                <a:gd name="connsiteX12" fmla="*/ 969125 w 1765041"/>
                <a:gd name="connsiteY12" fmla="*/ 889589 h 1489125"/>
                <a:gd name="connsiteX13" fmla="*/ 938645 w 1765041"/>
                <a:gd name="connsiteY13" fmla="*/ 1407749 h 1489125"/>
                <a:gd name="connsiteX14" fmla="*/ 883021 w 1765041"/>
                <a:gd name="connsiteY14" fmla="*/ 1487409 h 1489125"/>
                <a:gd name="connsiteX15" fmla="*/ 882521 w 1765041"/>
                <a:gd name="connsiteY15" fmla="*/ 1486898 h 1489125"/>
                <a:gd name="connsiteX16" fmla="*/ 882021 w 1765041"/>
                <a:gd name="connsiteY16" fmla="*/ 1487409 h 1489125"/>
                <a:gd name="connsiteX17" fmla="*/ 826396 w 1765041"/>
                <a:gd name="connsiteY17" fmla="*/ 1407749 h 1489125"/>
                <a:gd name="connsiteX18" fmla="*/ 795916 w 1765041"/>
                <a:gd name="connsiteY18" fmla="*/ 889589 h 1489125"/>
                <a:gd name="connsiteX19" fmla="*/ 430156 w 1765041"/>
                <a:gd name="connsiteY19" fmla="*/ 836249 h 1489125"/>
                <a:gd name="connsiteX20" fmla="*/ 110116 w 1765041"/>
                <a:gd name="connsiteY20" fmla="*/ 500969 h 1489125"/>
                <a:gd name="connsiteX21" fmla="*/ 41536 w 1765041"/>
                <a:gd name="connsiteY21" fmla="*/ 188549 h 1489125"/>
                <a:gd name="connsiteX22" fmla="*/ 26296 w 1765041"/>
                <a:gd name="connsiteY22" fmla="*/ 5669 h 1489125"/>
                <a:gd name="connsiteX23" fmla="*/ 94400 w 1765041"/>
                <a:gd name="connsiteY23" fmla="*/ 311 h 148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65041" h="1489125">
                  <a:moveTo>
                    <a:pt x="94400" y="311"/>
                  </a:moveTo>
                  <a:cubicBezTo>
                    <a:pt x="181554" y="3526"/>
                    <a:pt x="315856" y="31387"/>
                    <a:pt x="407296" y="74249"/>
                  </a:cubicBezTo>
                  <a:cubicBezTo>
                    <a:pt x="529216" y="131399"/>
                    <a:pt x="675266" y="250779"/>
                    <a:pt x="757816" y="348569"/>
                  </a:cubicBezTo>
                  <a:cubicBezTo>
                    <a:pt x="819729" y="421912"/>
                    <a:pt x="855924" y="460964"/>
                    <a:pt x="880867" y="550916"/>
                  </a:cubicBezTo>
                  <a:lnTo>
                    <a:pt x="882521" y="557987"/>
                  </a:lnTo>
                  <a:lnTo>
                    <a:pt x="884174" y="550916"/>
                  </a:lnTo>
                  <a:cubicBezTo>
                    <a:pt x="909118" y="460964"/>
                    <a:pt x="945313" y="421912"/>
                    <a:pt x="1007225" y="348569"/>
                  </a:cubicBezTo>
                  <a:cubicBezTo>
                    <a:pt x="1089775" y="250779"/>
                    <a:pt x="1235825" y="131399"/>
                    <a:pt x="1357745" y="74249"/>
                  </a:cubicBezTo>
                  <a:cubicBezTo>
                    <a:pt x="1479665" y="17099"/>
                    <a:pt x="1677785" y="-13381"/>
                    <a:pt x="1738745" y="5669"/>
                  </a:cubicBezTo>
                  <a:cubicBezTo>
                    <a:pt x="1799705" y="24719"/>
                    <a:pt x="1737475" y="105999"/>
                    <a:pt x="1723505" y="188549"/>
                  </a:cubicBezTo>
                  <a:cubicBezTo>
                    <a:pt x="1709535" y="271099"/>
                    <a:pt x="1719695" y="393019"/>
                    <a:pt x="1654925" y="500969"/>
                  </a:cubicBezTo>
                  <a:cubicBezTo>
                    <a:pt x="1590155" y="608919"/>
                    <a:pt x="1449185" y="771479"/>
                    <a:pt x="1334885" y="836249"/>
                  </a:cubicBezTo>
                  <a:cubicBezTo>
                    <a:pt x="1220585" y="901019"/>
                    <a:pt x="1035165" y="794339"/>
                    <a:pt x="969125" y="889589"/>
                  </a:cubicBezTo>
                  <a:cubicBezTo>
                    <a:pt x="903085" y="984839"/>
                    <a:pt x="957695" y="1320119"/>
                    <a:pt x="938645" y="1407749"/>
                  </a:cubicBezTo>
                  <a:cubicBezTo>
                    <a:pt x="926739" y="1462518"/>
                    <a:pt x="902926" y="1497443"/>
                    <a:pt x="883021" y="1487409"/>
                  </a:cubicBezTo>
                  <a:lnTo>
                    <a:pt x="882521" y="1486898"/>
                  </a:lnTo>
                  <a:lnTo>
                    <a:pt x="882021" y="1487409"/>
                  </a:lnTo>
                  <a:cubicBezTo>
                    <a:pt x="862115" y="1497443"/>
                    <a:pt x="838302" y="1462518"/>
                    <a:pt x="826396" y="1407749"/>
                  </a:cubicBezTo>
                  <a:cubicBezTo>
                    <a:pt x="807346" y="1320119"/>
                    <a:pt x="861956" y="984839"/>
                    <a:pt x="795916" y="889589"/>
                  </a:cubicBezTo>
                  <a:cubicBezTo>
                    <a:pt x="729876" y="794339"/>
                    <a:pt x="544456" y="901019"/>
                    <a:pt x="430156" y="836249"/>
                  </a:cubicBezTo>
                  <a:cubicBezTo>
                    <a:pt x="315856" y="771479"/>
                    <a:pt x="174886" y="608919"/>
                    <a:pt x="110116" y="500969"/>
                  </a:cubicBezTo>
                  <a:cubicBezTo>
                    <a:pt x="45346" y="393019"/>
                    <a:pt x="55506" y="271099"/>
                    <a:pt x="41536" y="188549"/>
                  </a:cubicBezTo>
                  <a:cubicBezTo>
                    <a:pt x="27566" y="105999"/>
                    <a:pt x="-34664" y="24719"/>
                    <a:pt x="26296" y="5669"/>
                  </a:cubicBezTo>
                  <a:cubicBezTo>
                    <a:pt x="41536" y="907"/>
                    <a:pt x="65349" y="-760"/>
                    <a:pt x="94400" y="311"/>
                  </a:cubicBezTo>
                  <a:close/>
                </a:path>
              </a:pathLst>
            </a:custGeom>
            <a:solidFill>
              <a:srgbClr val="6CB16F"/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F98456C0-E978-1B4A-989D-16934D3ED329}"/>
                </a:ext>
              </a:extLst>
            </p:cNvPr>
            <p:cNvSpPr/>
            <p:nvPr/>
          </p:nvSpPr>
          <p:spPr>
            <a:xfrm>
              <a:off x="3072245" y="2697480"/>
              <a:ext cx="395526" cy="472440"/>
            </a:xfrm>
            <a:custGeom>
              <a:avLst/>
              <a:gdLst>
                <a:gd name="connsiteX0" fmla="*/ 0 w 395526"/>
                <a:gd name="connsiteY0" fmla="*/ 0 h 472440"/>
                <a:gd name="connsiteX1" fmla="*/ 259080 w 395526"/>
                <a:gd name="connsiteY1" fmla="*/ 236220 h 472440"/>
                <a:gd name="connsiteX2" fmla="*/ 381000 w 395526"/>
                <a:gd name="connsiteY2" fmla="*/ 426720 h 472440"/>
                <a:gd name="connsiteX3" fmla="*/ 388620 w 395526"/>
                <a:gd name="connsiteY3" fmla="*/ 472440 h 472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26" h="472440">
                  <a:moveTo>
                    <a:pt x="0" y="0"/>
                  </a:moveTo>
                  <a:cubicBezTo>
                    <a:pt x="97790" y="82550"/>
                    <a:pt x="195580" y="165100"/>
                    <a:pt x="259080" y="236220"/>
                  </a:cubicBezTo>
                  <a:cubicBezTo>
                    <a:pt x="322580" y="307340"/>
                    <a:pt x="359410" y="387350"/>
                    <a:pt x="381000" y="426720"/>
                  </a:cubicBezTo>
                  <a:cubicBezTo>
                    <a:pt x="402590" y="466090"/>
                    <a:pt x="395605" y="469265"/>
                    <a:pt x="388620" y="472440"/>
                  </a:cubicBezTo>
                </a:path>
              </a:pathLst>
            </a:cu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FE33FA5-B781-3D2B-842C-C58F18AD5EB2}"/>
                </a:ext>
              </a:extLst>
            </p:cNvPr>
            <p:cNvSpPr/>
            <p:nvPr/>
          </p:nvSpPr>
          <p:spPr>
            <a:xfrm flipH="1">
              <a:off x="3622202" y="2697233"/>
              <a:ext cx="395526" cy="472440"/>
            </a:xfrm>
            <a:custGeom>
              <a:avLst/>
              <a:gdLst>
                <a:gd name="connsiteX0" fmla="*/ 0 w 395526"/>
                <a:gd name="connsiteY0" fmla="*/ 0 h 472440"/>
                <a:gd name="connsiteX1" fmla="*/ 259080 w 395526"/>
                <a:gd name="connsiteY1" fmla="*/ 236220 h 472440"/>
                <a:gd name="connsiteX2" fmla="*/ 381000 w 395526"/>
                <a:gd name="connsiteY2" fmla="*/ 426720 h 472440"/>
                <a:gd name="connsiteX3" fmla="*/ 388620 w 395526"/>
                <a:gd name="connsiteY3" fmla="*/ 472440 h 472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26" h="472440">
                  <a:moveTo>
                    <a:pt x="0" y="0"/>
                  </a:moveTo>
                  <a:cubicBezTo>
                    <a:pt x="97790" y="82550"/>
                    <a:pt x="195580" y="165100"/>
                    <a:pt x="259080" y="236220"/>
                  </a:cubicBezTo>
                  <a:cubicBezTo>
                    <a:pt x="322580" y="307340"/>
                    <a:pt x="359410" y="387350"/>
                    <a:pt x="381000" y="426720"/>
                  </a:cubicBezTo>
                  <a:cubicBezTo>
                    <a:pt x="402590" y="466090"/>
                    <a:pt x="395605" y="469265"/>
                    <a:pt x="388620" y="472440"/>
                  </a:cubicBezTo>
                </a:path>
              </a:pathLst>
            </a:cu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1" name="Rectangle: Top Corners Rounded 70">
              <a:extLst>
                <a:ext uri="{FF2B5EF4-FFF2-40B4-BE49-F238E27FC236}">
                  <a16:creationId xmlns:a16="http://schemas.microsoft.com/office/drawing/2014/main" id="{C4008CD9-02E6-B70C-A4CA-16004FF64E8E}"/>
                </a:ext>
              </a:extLst>
            </p:cNvPr>
            <p:cNvSpPr/>
            <p:nvPr/>
          </p:nvSpPr>
          <p:spPr>
            <a:xfrm>
              <a:off x="2894574" y="3688081"/>
              <a:ext cx="1287780" cy="441960"/>
            </a:xfrm>
            <a:prstGeom prst="round2SameRect">
              <a:avLst/>
            </a:prstGeom>
            <a:solidFill>
              <a:srgbClr val="AC7057"/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3A57B55-FC0A-4189-7E97-11966B00A2DE}"/>
              </a:ext>
            </a:extLst>
          </p:cNvPr>
          <p:cNvGrpSpPr/>
          <p:nvPr/>
        </p:nvGrpSpPr>
        <p:grpSpPr>
          <a:xfrm>
            <a:off x="4538288" y="4824446"/>
            <a:ext cx="980699" cy="1748138"/>
            <a:chOff x="5410199" y="2257471"/>
            <a:chExt cx="1668780" cy="2974671"/>
          </a:xfrm>
        </p:grpSpPr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775D289D-0375-F89E-C7C2-58C26DB75B7C}"/>
                </a:ext>
              </a:extLst>
            </p:cNvPr>
            <p:cNvSpPr/>
            <p:nvPr/>
          </p:nvSpPr>
          <p:spPr>
            <a:xfrm>
              <a:off x="5410199" y="2257471"/>
              <a:ext cx="1668780" cy="2786969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C57B1099-5EB8-DA6A-AADA-7FCFB86FBE6D}"/>
                </a:ext>
              </a:extLst>
            </p:cNvPr>
            <p:cNvSpPr/>
            <p:nvPr/>
          </p:nvSpPr>
          <p:spPr>
            <a:xfrm>
              <a:off x="5828607" y="2712473"/>
              <a:ext cx="831965" cy="57912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571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093D4B21-0491-3706-F1B0-D24614D90514}"/>
                </a:ext>
              </a:extLst>
            </p:cNvPr>
            <p:cNvSpPr/>
            <p:nvPr/>
          </p:nvSpPr>
          <p:spPr>
            <a:xfrm>
              <a:off x="5934593" y="4653022"/>
              <a:ext cx="619992" cy="57912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21876E83-DB7E-8B4F-4985-E30937A41A1A}"/>
                </a:ext>
              </a:extLst>
            </p:cNvPr>
            <p:cNvGrpSpPr/>
            <p:nvPr/>
          </p:nvGrpSpPr>
          <p:grpSpPr>
            <a:xfrm>
              <a:off x="5516187" y="4675882"/>
              <a:ext cx="1456804" cy="266700"/>
              <a:chOff x="5516187" y="4675882"/>
              <a:chExt cx="1456804" cy="266700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F346F37F-1596-3B65-A07C-3DDB7F25EEE1}"/>
                  </a:ext>
                </a:extLst>
              </p:cNvPr>
              <p:cNvSpPr/>
              <p:nvPr/>
            </p:nvSpPr>
            <p:spPr>
              <a:xfrm>
                <a:off x="6706291" y="4675882"/>
                <a:ext cx="266700" cy="266700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B8DB4B0A-25FF-96C0-ACDD-E8BB102B654F}"/>
                  </a:ext>
                </a:extLst>
              </p:cNvPr>
              <p:cNvSpPr/>
              <p:nvPr/>
            </p:nvSpPr>
            <p:spPr>
              <a:xfrm>
                <a:off x="5516187" y="4675882"/>
                <a:ext cx="266700" cy="266700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572302D9-C44B-D336-64E3-03743C4E2E1F}"/>
                </a:ext>
              </a:extLst>
            </p:cNvPr>
            <p:cNvGrpSpPr/>
            <p:nvPr/>
          </p:nvGrpSpPr>
          <p:grpSpPr>
            <a:xfrm>
              <a:off x="5506812" y="2721233"/>
              <a:ext cx="1475555" cy="1115665"/>
              <a:chOff x="5516499" y="2721233"/>
              <a:chExt cx="1475555" cy="1115665"/>
            </a:xfrm>
          </p:grpSpPr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5F721CF0-C63F-85C0-6449-578891E791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16200000">
                <a:off x="5034873" y="3202859"/>
                <a:ext cx="1115665" cy="152413"/>
              </a:xfrm>
              <a:prstGeom prst="rect">
                <a:avLst/>
              </a:prstGeom>
            </p:spPr>
          </p:pic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E96BAC36-97CE-206E-BB88-6577B49192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16200000">
                <a:off x="6358015" y="3202859"/>
                <a:ext cx="1115665" cy="152413"/>
              </a:xfrm>
              <a:prstGeom prst="rect">
                <a:avLst/>
              </a:prstGeom>
            </p:spPr>
          </p:pic>
        </p:grp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3B345A5A-6BE6-8784-FC37-330B8FFB8F9B}"/>
                </a:ext>
              </a:extLst>
            </p:cNvPr>
            <p:cNvSpPr/>
            <p:nvPr/>
          </p:nvSpPr>
          <p:spPr>
            <a:xfrm>
              <a:off x="5898722" y="2373212"/>
              <a:ext cx="629920" cy="223520"/>
            </a:xfrm>
            <a:custGeom>
              <a:avLst/>
              <a:gdLst>
                <a:gd name="connsiteX0" fmla="*/ 0 w 629920"/>
                <a:gd name="connsiteY0" fmla="*/ 203200 h 223520"/>
                <a:gd name="connsiteX1" fmla="*/ 121920 w 629920"/>
                <a:gd name="connsiteY1" fmla="*/ 203200 h 223520"/>
                <a:gd name="connsiteX2" fmla="*/ 121920 w 629920"/>
                <a:gd name="connsiteY2" fmla="*/ 0 h 223520"/>
                <a:gd name="connsiteX3" fmla="*/ 289560 w 629920"/>
                <a:gd name="connsiteY3" fmla="*/ 0 h 223520"/>
                <a:gd name="connsiteX4" fmla="*/ 289560 w 629920"/>
                <a:gd name="connsiteY4" fmla="*/ 215900 h 223520"/>
                <a:gd name="connsiteX5" fmla="*/ 396240 w 629920"/>
                <a:gd name="connsiteY5" fmla="*/ 215900 h 223520"/>
                <a:gd name="connsiteX6" fmla="*/ 396240 w 629920"/>
                <a:gd name="connsiteY6" fmla="*/ 0 h 223520"/>
                <a:gd name="connsiteX7" fmla="*/ 510540 w 629920"/>
                <a:gd name="connsiteY7" fmla="*/ 0 h 223520"/>
                <a:gd name="connsiteX8" fmla="*/ 513080 w 629920"/>
                <a:gd name="connsiteY8" fmla="*/ 22860 h 223520"/>
                <a:gd name="connsiteX9" fmla="*/ 513080 w 629920"/>
                <a:gd name="connsiteY9" fmla="*/ 223520 h 223520"/>
                <a:gd name="connsiteX10" fmla="*/ 629920 w 629920"/>
                <a:gd name="connsiteY10" fmla="*/ 223520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9920" h="223520">
                  <a:moveTo>
                    <a:pt x="0" y="203200"/>
                  </a:moveTo>
                  <a:lnTo>
                    <a:pt x="121920" y="203200"/>
                  </a:lnTo>
                  <a:lnTo>
                    <a:pt x="121920" y="0"/>
                  </a:lnTo>
                  <a:lnTo>
                    <a:pt x="289560" y="0"/>
                  </a:lnTo>
                  <a:lnTo>
                    <a:pt x="289560" y="215900"/>
                  </a:lnTo>
                  <a:lnTo>
                    <a:pt x="396240" y="215900"/>
                  </a:lnTo>
                  <a:lnTo>
                    <a:pt x="396240" y="0"/>
                  </a:lnTo>
                  <a:lnTo>
                    <a:pt x="510540" y="0"/>
                  </a:lnTo>
                  <a:lnTo>
                    <a:pt x="513080" y="22860"/>
                  </a:lnTo>
                  <a:lnTo>
                    <a:pt x="513080" y="223520"/>
                  </a:lnTo>
                  <a:lnTo>
                    <a:pt x="629920" y="223520"/>
                  </a:lnTo>
                </a:path>
              </a:pathLst>
            </a:custGeom>
            <a:noFill/>
            <a:ln w="38100">
              <a:solidFill>
                <a:srgbClr val="AEAEA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FF3FCBE6-EB4F-ACC7-ECA5-4DA7A02C33F7}"/>
              </a:ext>
            </a:extLst>
          </p:cNvPr>
          <p:cNvGrpSpPr/>
          <p:nvPr/>
        </p:nvGrpSpPr>
        <p:grpSpPr>
          <a:xfrm>
            <a:off x="8094565" y="4883858"/>
            <a:ext cx="1557974" cy="1629314"/>
            <a:chOff x="7932193" y="2251277"/>
            <a:chExt cx="2107146" cy="2203633"/>
          </a:xfrm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B04949DE-1B73-7074-BF25-FA4DFDAC719C}"/>
                </a:ext>
              </a:extLst>
            </p:cNvPr>
            <p:cNvSpPr/>
            <p:nvPr/>
          </p:nvSpPr>
          <p:spPr>
            <a:xfrm>
              <a:off x="7932193" y="2251277"/>
              <a:ext cx="2107146" cy="1336954"/>
            </a:xfrm>
            <a:custGeom>
              <a:avLst/>
              <a:gdLst>
                <a:gd name="connsiteX0" fmla="*/ 1214965 w 2107146"/>
                <a:gd name="connsiteY0" fmla="*/ 0 h 1336954"/>
                <a:gd name="connsiteX1" fmla="*/ 1807383 w 2107146"/>
                <a:gd name="connsiteY1" fmla="*/ 592418 h 1336954"/>
                <a:gd name="connsiteX2" fmla="*/ 1803966 w 2107146"/>
                <a:gd name="connsiteY2" fmla="*/ 626313 h 1336954"/>
                <a:gd name="connsiteX3" fmla="*/ 1821225 w 2107146"/>
                <a:gd name="connsiteY3" fmla="*/ 628053 h 1336954"/>
                <a:gd name="connsiteX4" fmla="*/ 2107146 w 2107146"/>
                <a:gd name="connsiteY4" fmla="*/ 978866 h 1336954"/>
                <a:gd name="connsiteX5" fmla="*/ 1821225 w 2107146"/>
                <a:gd name="connsiteY5" fmla="*/ 1329679 h 1336954"/>
                <a:gd name="connsiteX6" fmla="*/ 1765781 w 2107146"/>
                <a:gd name="connsiteY6" fmla="*/ 1335268 h 1336954"/>
                <a:gd name="connsiteX7" fmla="*/ 1765781 w 2107146"/>
                <a:gd name="connsiteY7" fmla="*/ 1335485 h 1336954"/>
                <a:gd name="connsiteX8" fmla="*/ 1763630 w 2107146"/>
                <a:gd name="connsiteY8" fmla="*/ 1335485 h 1336954"/>
                <a:gd name="connsiteX9" fmla="*/ 1749058 w 2107146"/>
                <a:gd name="connsiteY9" fmla="*/ 1336954 h 1336954"/>
                <a:gd name="connsiteX10" fmla="*/ 1737397 w 2107146"/>
                <a:gd name="connsiteY10" fmla="*/ 1335485 h 1336954"/>
                <a:gd name="connsiteX11" fmla="*/ 408903 w 2107146"/>
                <a:gd name="connsiteY11" fmla="*/ 1335485 h 1336954"/>
                <a:gd name="connsiteX12" fmla="*/ 392322 w 2107146"/>
                <a:gd name="connsiteY12" fmla="*/ 1336948 h 1336954"/>
                <a:gd name="connsiteX13" fmla="*/ 377809 w 2107146"/>
                <a:gd name="connsiteY13" fmla="*/ 1335485 h 1336954"/>
                <a:gd name="connsiteX14" fmla="*/ 361800 w 2107146"/>
                <a:gd name="connsiteY14" fmla="*/ 1335485 h 1336954"/>
                <a:gd name="connsiteX15" fmla="*/ 361800 w 2107146"/>
                <a:gd name="connsiteY15" fmla="*/ 1333871 h 1336954"/>
                <a:gd name="connsiteX16" fmla="*/ 313255 w 2107146"/>
                <a:gd name="connsiteY16" fmla="*/ 1328978 h 1336954"/>
                <a:gd name="connsiteX17" fmla="*/ 0 w 2107146"/>
                <a:gd name="connsiteY17" fmla="*/ 944626 h 1336954"/>
                <a:gd name="connsiteX18" fmla="*/ 239613 w 2107146"/>
                <a:gd name="connsiteY18" fmla="*/ 583135 h 1336954"/>
                <a:gd name="connsiteX19" fmla="*/ 310143 w 2107146"/>
                <a:gd name="connsiteY19" fmla="*/ 561241 h 1336954"/>
                <a:gd name="connsiteX20" fmla="*/ 324628 w 2107146"/>
                <a:gd name="connsiteY20" fmla="*/ 489496 h 1336954"/>
                <a:gd name="connsiteX21" fmla="*/ 568264 w 2107146"/>
                <a:gd name="connsiteY21" fmla="*/ 328003 h 1336954"/>
                <a:gd name="connsiteX22" fmla="*/ 671186 w 2107146"/>
                <a:gd name="connsiteY22" fmla="*/ 348782 h 1336954"/>
                <a:gd name="connsiteX23" fmla="*/ 675044 w 2107146"/>
                <a:gd name="connsiteY23" fmla="*/ 350876 h 1336954"/>
                <a:gd name="connsiteX24" fmla="*/ 723723 w 2107146"/>
                <a:gd name="connsiteY24" fmla="*/ 261192 h 1336954"/>
                <a:gd name="connsiteX25" fmla="*/ 1214965 w 2107146"/>
                <a:gd name="connsiteY25" fmla="*/ 0 h 133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07146" h="1336954">
                  <a:moveTo>
                    <a:pt x="1214965" y="0"/>
                  </a:moveTo>
                  <a:cubicBezTo>
                    <a:pt x="1542148" y="0"/>
                    <a:pt x="1807383" y="265235"/>
                    <a:pt x="1807383" y="592418"/>
                  </a:cubicBezTo>
                  <a:lnTo>
                    <a:pt x="1803966" y="626313"/>
                  </a:lnTo>
                  <a:lnTo>
                    <a:pt x="1821225" y="628053"/>
                  </a:lnTo>
                  <a:cubicBezTo>
                    <a:pt x="1984400" y="661443"/>
                    <a:pt x="2107146" y="805820"/>
                    <a:pt x="2107146" y="978866"/>
                  </a:cubicBezTo>
                  <a:cubicBezTo>
                    <a:pt x="2107146" y="1151912"/>
                    <a:pt x="1984400" y="1296289"/>
                    <a:pt x="1821225" y="1329679"/>
                  </a:cubicBezTo>
                  <a:lnTo>
                    <a:pt x="1765781" y="1335268"/>
                  </a:lnTo>
                  <a:lnTo>
                    <a:pt x="1765781" y="1335485"/>
                  </a:lnTo>
                  <a:lnTo>
                    <a:pt x="1763630" y="1335485"/>
                  </a:lnTo>
                  <a:lnTo>
                    <a:pt x="1749058" y="1336954"/>
                  </a:lnTo>
                  <a:lnTo>
                    <a:pt x="1737397" y="1335485"/>
                  </a:lnTo>
                  <a:lnTo>
                    <a:pt x="408903" y="1335485"/>
                  </a:lnTo>
                  <a:lnTo>
                    <a:pt x="392322" y="1336948"/>
                  </a:lnTo>
                  <a:lnTo>
                    <a:pt x="377809" y="1335485"/>
                  </a:lnTo>
                  <a:lnTo>
                    <a:pt x="361800" y="1335485"/>
                  </a:lnTo>
                  <a:lnTo>
                    <a:pt x="361800" y="1333871"/>
                  </a:lnTo>
                  <a:lnTo>
                    <a:pt x="313255" y="1328978"/>
                  </a:lnTo>
                  <a:cubicBezTo>
                    <a:pt x="134481" y="1292395"/>
                    <a:pt x="0" y="1134215"/>
                    <a:pt x="0" y="944626"/>
                  </a:cubicBezTo>
                  <a:cubicBezTo>
                    <a:pt x="0" y="782121"/>
                    <a:pt x="98802" y="642693"/>
                    <a:pt x="239613" y="583135"/>
                  </a:cubicBezTo>
                  <a:lnTo>
                    <a:pt x="310143" y="561241"/>
                  </a:lnTo>
                  <a:lnTo>
                    <a:pt x="324628" y="489496"/>
                  </a:lnTo>
                  <a:cubicBezTo>
                    <a:pt x="364768" y="394594"/>
                    <a:pt x="458740" y="328003"/>
                    <a:pt x="568264" y="328003"/>
                  </a:cubicBezTo>
                  <a:cubicBezTo>
                    <a:pt x="604772" y="328003"/>
                    <a:pt x="639552" y="335402"/>
                    <a:pt x="671186" y="348782"/>
                  </a:cubicBezTo>
                  <a:lnTo>
                    <a:pt x="675044" y="350876"/>
                  </a:lnTo>
                  <a:lnTo>
                    <a:pt x="723723" y="261192"/>
                  </a:lnTo>
                  <a:cubicBezTo>
                    <a:pt x="830185" y="103608"/>
                    <a:pt x="1010476" y="0"/>
                    <a:pt x="1214965" y="0"/>
                  </a:cubicBezTo>
                  <a:close/>
                </a:path>
              </a:pathLst>
            </a:custGeom>
            <a:solidFill>
              <a:srgbClr val="269AF2"/>
            </a:solidFill>
            <a:ln w="571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23723C59-7ECA-AD13-115C-56D4A3D22622}"/>
                </a:ext>
              </a:extLst>
            </p:cNvPr>
            <p:cNvSpPr/>
            <p:nvPr/>
          </p:nvSpPr>
          <p:spPr>
            <a:xfrm>
              <a:off x="8532005" y="3429000"/>
              <a:ext cx="1495405" cy="335983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571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38E7D202-E8CE-DA5A-4DA9-10E99949EBFC}"/>
                </a:ext>
              </a:extLst>
            </p:cNvPr>
            <p:cNvGrpSpPr/>
            <p:nvPr/>
          </p:nvGrpSpPr>
          <p:grpSpPr>
            <a:xfrm>
              <a:off x="9279707" y="3519627"/>
              <a:ext cx="607377" cy="154729"/>
              <a:chOff x="9505608" y="4356633"/>
              <a:chExt cx="832111" cy="211980"/>
            </a:xfrm>
          </p:grpSpPr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0DB0A4EE-C234-A0C8-1744-C84BDC31BE02}"/>
                  </a:ext>
                </a:extLst>
              </p:cNvPr>
              <p:cNvSpPr/>
              <p:nvPr/>
            </p:nvSpPr>
            <p:spPr>
              <a:xfrm>
                <a:off x="9505608" y="4356633"/>
                <a:ext cx="211980" cy="211980"/>
              </a:xfrm>
              <a:prstGeom prst="ellipse">
                <a:avLst/>
              </a:prstGeom>
              <a:solidFill>
                <a:srgbClr val="C04F15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30099C65-B393-7919-E58F-075F9C7EB2F9}"/>
                  </a:ext>
                </a:extLst>
              </p:cNvPr>
              <p:cNvSpPr/>
              <p:nvPr/>
            </p:nvSpPr>
            <p:spPr>
              <a:xfrm>
                <a:off x="9815673" y="4356633"/>
                <a:ext cx="211980" cy="211980"/>
              </a:xfrm>
              <a:prstGeom prst="ellipse">
                <a:avLst/>
              </a:prstGeom>
              <a:solidFill>
                <a:srgbClr val="C04F15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281A883C-B57B-8B13-8F9D-82F1A026334B}"/>
                  </a:ext>
                </a:extLst>
              </p:cNvPr>
              <p:cNvSpPr/>
              <p:nvPr/>
            </p:nvSpPr>
            <p:spPr>
              <a:xfrm>
                <a:off x="10125739" y="4356633"/>
                <a:ext cx="211980" cy="211980"/>
              </a:xfrm>
              <a:prstGeom prst="ellipse">
                <a:avLst/>
              </a:prstGeom>
              <a:solidFill>
                <a:srgbClr val="C04F15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122331C1-B8C7-328D-E077-911DD2E08E35}"/>
                </a:ext>
              </a:extLst>
            </p:cNvPr>
            <p:cNvSpPr/>
            <p:nvPr/>
          </p:nvSpPr>
          <p:spPr>
            <a:xfrm>
              <a:off x="8532005" y="3775749"/>
              <a:ext cx="1495405" cy="335983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571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8B38718D-F040-93DA-0606-98A89CED766F}"/>
                </a:ext>
              </a:extLst>
            </p:cNvPr>
            <p:cNvGrpSpPr/>
            <p:nvPr/>
          </p:nvGrpSpPr>
          <p:grpSpPr>
            <a:xfrm>
              <a:off x="9279707" y="3866376"/>
              <a:ext cx="607377" cy="154729"/>
              <a:chOff x="9505608" y="4356633"/>
              <a:chExt cx="832111" cy="211980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6C3A4AB9-BFE2-2644-B3AD-FBAE6F6048D5}"/>
                  </a:ext>
                </a:extLst>
              </p:cNvPr>
              <p:cNvSpPr/>
              <p:nvPr/>
            </p:nvSpPr>
            <p:spPr>
              <a:xfrm>
                <a:off x="9505608" y="4356633"/>
                <a:ext cx="211980" cy="211980"/>
              </a:xfrm>
              <a:prstGeom prst="ellipse">
                <a:avLst/>
              </a:prstGeom>
              <a:solidFill>
                <a:srgbClr val="C04F15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57DD61D8-F975-2AB9-0B3C-ABA877F65FCA}"/>
                  </a:ext>
                </a:extLst>
              </p:cNvPr>
              <p:cNvSpPr/>
              <p:nvPr/>
            </p:nvSpPr>
            <p:spPr>
              <a:xfrm>
                <a:off x="9815673" y="4356633"/>
                <a:ext cx="211980" cy="211980"/>
              </a:xfrm>
              <a:prstGeom prst="ellipse">
                <a:avLst/>
              </a:prstGeom>
              <a:solidFill>
                <a:srgbClr val="C04F15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A12966B3-423D-4C1C-365A-7A84718389AC}"/>
                  </a:ext>
                </a:extLst>
              </p:cNvPr>
              <p:cNvSpPr/>
              <p:nvPr/>
            </p:nvSpPr>
            <p:spPr>
              <a:xfrm>
                <a:off x="10125739" y="4356633"/>
                <a:ext cx="211980" cy="211980"/>
              </a:xfrm>
              <a:prstGeom prst="ellipse">
                <a:avLst/>
              </a:prstGeom>
              <a:solidFill>
                <a:srgbClr val="C04F15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44902B80-AFF8-75F7-7DC0-72A41D967E8C}"/>
                </a:ext>
              </a:extLst>
            </p:cNvPr>
            <p:cNvSpPr/>
            <p:nvPr/>
          </p:nvSpPr>
          <p:spPr>
            <a:xfrm>
              <a:off x="8532005" y="4118927"/>
              <a:ext cx="1495405" cy="335983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571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53A6CA8C-6054-92D0-88C8-CA7D736408D3}"/>
                </a:ext>
              </a:extLst>
            </p:cNvPr>
            <p:cNvGrpSpPr/>
            <p:nvPr/>
          </p:nvGrpSpPr>
          <p:grpSpPr>
            <a:xfrm>
              <a:off x="9279707" y="4209554"/>
              <a:ext cx="607377" cy="154729"/>
              <a:chOff x="9505608" y="4356633"/>
              <a:chExt cx="832111" cy="211980"/>
            </a:xfrm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CE449D59-B8D0-3F5E-353C-A791D32E2C75}"/>
                  </a:ext>
                </a:extLst>
              </p:cNvPr>
              <p:cNvSpPr/>
              <p:nvPr/>
            </p:nvSpPr>
            <p:spPr>
              <a:xfrm>
                <a:off x="9505608" y="4356633"/>
                <a:ext cx="211980" cy="211980"/>
              </a:xfrm>
              <a:prstGeom prst="ellipse">
                <a:avLst/>
              </a:prstGeom>
              <a:solidFill>
                <a:srgbClr val="C04F15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05110662-0125-5FBE-9334-4109D456AA28}"/>
                  </a:ext>
                </a:extLst>
              </p:cNvPr>
              <p:cNvSpPr/>
              <p:nvPr/>
            </p:nvSpPr>
            <p:spPr>
              <a:xfrm>
                <a:off x="9815673" y="4356633"/>
                <a:ext cx="211980" cy="211980"/>
              </a:xfrm>
              <a:prstGeom prst="ellipse">
                <a:avLst/>
              </a:prstGeom>
              <a:solidFill>
                <a:srgbClr val="C04F15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C4891009-EE63-5F2C-2E52-9DFB78ECCD27}"/>
                  </a:ext>
                </a:extLst>
              </p:cNvPr>
              <p:cNvSpPr/>
              <p:nvPr/>
            </p:nvSpPr>
            <p:spPr>
              <a:xfrm>
                <a:off x="10125739" y="4356633"/>
                <a:ext cx="211980" cy="211980"/>
              </a:xfrm>
              <a:prstGeom prst="ellipse">
                <a:avLst/>
              </a:prstGeom>
              <a:solidFill>
                <a:srgbClr val="C04F15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CF72436-DD81-9A08-8F60-B0042850654B}"/>
              </a:ext>
            </a:extLst>
          </p:cNvPr>
          <p:cNvGrpSpPr/>
          <p:nvPr/>
        </p:nvGrpSpPr>
        <p:grpSpPr>
          <a:xfrm>
            <a:off x="6125055" y="5016795"/>
            <a:ext cx="1363440" cy="1363440"/>
            <a:chOff x="6434373" y="4632960"/>
            <a:chExt cx="1844040" cy="1844040"/>
          </a:xfrm>
        </p:grpSpPr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486B3605-6397-7E24-8E2D-B38A9FEE51A8}"/>
                </a:ext>
              </a:extLst>
            </p:cNvPr>
            <p:cNvSpPr/>
            <p:nvPr/>
          </p:nvSpPr>
          <p:spPr>
            <a:xfrm>
              <a:off x="6434373" y="4632960"/>
              <a:ext cx="1844040" cy="1844040"/>
            </a:xfrm>
            <a:prstGeom prst="roundRect">
              <a:avLst>
                <a:gd name="adj" fmla="val 17080"/>
              </a:avLst>
            </a:prstGeom>
            <a:ln w="571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3DF678CD-8512-B7F4-C0BE-0F12C3BBAF07}"/>
                </a:ext>
              </a:extLst>
            </p:cNvPr>
            <p:cNvSpPr/>
            <p:nvPr/>
          </p:nvSpPr>
          <p:spPr>
            <a:xfrm>
              <a:off x="7140631" y="5339218"/>
              <a:ext cx="431524" cy="4315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443E8E32-3718-6307-DBB4-4D55476BA624}"/>
                </a:ext>
              </a:extLst>
            </p:cNvPr>
            <p:cNvSpPr/>
            <p:nvPr/>
          </p:nvSpPr>
          <p:spPr>
            <a:xfrm>
              <a:off x="7628413" y="4780345"/>
              <a:ext cx="314895" cy="3148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8806F820-DFD5-19C5-684E-3A5F06379D2B}"/>
                </a:ext>
              </a:extLst>
            </p:cNvPr>
            <p:cNvSpPr/>
            <p:nvPr/>
          </p:nvSpPr>
          <p:spPr>
            <a:xfrm>
              <a:off x="7828009" y="5397532"/>
              <a:ext cx="314895" cy="3148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797D3B10-7C0B-72D2-E8E6-BD18992B9B2C}"/>
                </a:ext>
              </a:extLst>
            </p:cNvPr>
            <p:cNvSpPr/>
            <p:nvPr/>
          </p:nvSpPr>
          <p:spPr>
            <a:xfrm>
              <a:off x="7587091" y="5937266"/>
              <a:ext cx="314895" cy="3148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4609A4B9-5642-0198-CCBF-1274FA5E5D66}"/>
                </a:ext>
              </a:extLst>
            </p:cNvPr>
            <p:cNvSpPr/>
            <p:nvPr/>
          </p:nvSpPr>
          <p:spPr>
            <a:xfrm>
              <a:off x="6647291" y="5825506"/>
              <a:ext cx="314895" cy="3148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668B2BCE-856B-0F46-A52B-2107D1DCB2E9}"/>
                </a:ext>
              </a:extLst>
            </p:cNvPr>
            <p:cNvSpPr/>
            <p:nvPr/>
          </p:nvSpPr>
          <p:spPr>
            <a:xfrm>
              <a:off x="6716498" y="4937792"/>
              <a:ext cx="314895" cy="3148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EAD6BBB2-464D-C37A-6294-79892F7294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84777" y="5095239"/>
              <a:ext cx="471616" cy="45974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01684DA-CDC4-56C9-B00E-4D369EC289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56393" y="4937792"/>
              <a:ext cx="408254" cy="617187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0C255CE6-89BC-3B15-32D7-BD972B11B3AE}"/>
                </a:ext>
              </a:extLst>
            </p:cNvPr>
            <p:cNvCxnSpPr>
              <a:cxnSpLocks/>
            </p:cNvCxnSpPr>
            <p:nvPr/>
          </p:nvCxnSpPr>
          <p:spPr>
            <a:xfrm>
              <a:off x="7356393" y="5554979"/>
              <a:ext cx="597020" cy="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3AE5534B-9757-11C8-AF8A-708E71F53A6B}"/>
                </a:ext>
              </a:extLst>
            </p:cNvPr>
            <p:cNvCxnSpPr>
              <a:cxnSpLocks/>
            </p:cNvCxnSpPr>
            <p:nvPr/>
          </p:nvCxnSpPr>
          <p:spPr>
            <a:xfrm>
              <a:off x="7349185" y="5549931"/>
              <a:ext cx="395353" cy="544782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4CFD328C-155E-F063-8385-F1935AACCB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74564" y="5544883"/>
              <a:ext cx="581829" cy="411522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A4432844-3EA0-A56F-2B69-BCE1FD3B05E4}"/>
              </a:ext>
            </a:extLst>
          </p:cNvPr>
          <p:cNvCxnSpPr>
            <a:cxnSpLocks/>
          </p:cNvCxnSpPr>
          <p:nvPr/>
        </p:nvCxnSpPr>
        <p:spPr>
          <a:xfrm>
            <a:off x="4027687" y="5698515"/>
            <a:ext cx="415135" cy="0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04860F46-EAD1-6EBD-7165-157B956EC902}"/>
              </a:ext>
            </a:extLst>
          </p:cNvPr>
          <p:cNvCxnSpPr>
            <a:cxnSpLocks/>
          </p:cNvCxnSpPr>
          <p:nvPr/>
        </p:nvCxnSpPr>
        <p:spPr>
          <a:xfrm>
            <a:off x="5614454" y="5698515"/>
            <a:ext cx="415135" cy="0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C3B2ED6F-98A8-5C4F-F6AF-08FF6133660A}"/>
              </a:ext>
            </a:extLst>
          </p:cNvPr>
          <p:cNvCxnSpPr>
            <a:cxnSpLocks/>
          </p:cNvCxnSpPr>
          <p:nvPr/>
        </p:nvCxnSpPr>
        <p:spPr>
          <a:xfrm>
            <a:off x="7583961" y="5698515"/>
            <a:ext cx="415135" cy="0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DD86B09B-E55D-382F-04B1-FC02CF4E197E}"/>
              </a:ext>
            </a:extLst>
          </p:cNvPr>
          <p:cNvSpPr txBox="1"/>
          <p:nvPr/>
        </p:nvSpPr>
        <p:spPr>
          <a:xfrm>
            <a:off x="439769" y="5822755"/>
            <a:ext cx="20740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/>
              <a:t>Internet of </a:t>
            </a:r>
            <a:r>
              <a:rPr lang="fr-FR" b="1" dirty="0" err="1"/>
              <a:t>Things</a:t>
            </a:r>
            <a:r>
              <a:rPr lang="fr-FR" b="1" dirty="0"/>
              <a:t>,</a:t>
            </a:r>
          </a:p>
          <a:p>
            <a:pPr algn="ctr"/>
            <a:r>
              <a:rPr lang="fr-FR" b="1" dirty="0" err="1"/>
              <a:t>captors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8852697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v_0_20250517115434">
            <a:hlinkClick r:id="" action="ppaction://media"/>
            <a:extLst>
              <a:ext uri="{FF2B5EF4-FFF2-40B4-BE49-F238E27FC236}">
                <a16:creationId xmlns:a16="http://schemas.microsoft.com/office/drawing/2014/main" id="{76AF50B5-D151-DDFC-FDAD-26D16F5AC50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872886" y="1974813"/>
            <a:ext cx="6446228" cy="3626004"/>
          </a:xfrm>
          <a:prstGeom prst="roundRect">
            <a:avLst>
              <a:gd name="adj" fmla="val 744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19F54AE-429C-4E21-D957-93A4C7CD801C}"/>
              </a:ext>
            </a:extLst>
          </p:cNvPr>
          <p:cNvGrpSpPr/>
          <p:nvPr/>
        </p:nvGrpSpPr>
        <p:grpSpPr>
          <a:xfrm>
            <a:off x="591062" y="674854"/>
            <a:ext cx="2767495" cy="1082388"/>
            <a:chOff x="1204520" y="1929481"/>
            <a:chExt cx="3403383" cy="133108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5E44C69-4E27-B172-C9AB-ABD767433164}"/>
                </a:ext>
              </a:extLst>
            </p:cNvPr>
            <p:cNvSpPr txBox="1"/>
            <p:nvPr/>
          </p:nvSpPr>
          <p:spPr>
            <a:xfrm>
              <a:off x="2675751" y="2133360"/>
              <a:ext cx="193215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Connected</a:t>
              </a:r>
              <a:r>
                <a:rPr lang="fr-FR" dirty="0"/>
                <a:t> </a:t>
              </a:r>
              <a:r>
                <a:rPr lang="fr-FR" dirty="0" err="1"/>
                <a:t>gardens</a:t>
              </a:r>
              <a:endParaRPr lang="fr-FR" dirty="0"/>
            </a:p>
            <a:p>
              <a:r>
                <a:rPr lang="fr-FR" dirty="0"/>
                <a:t>in the </a:t>
              </a:r>
              <a:r>
                <a:rPr lang="fr-FR" dirty="0" err="1"/>
                <a:t>cities</a:t>
              </a:r>
              <a:endParaRPr lang="fr-FR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FAC1B6F-0FED-A254-E193-E56BCECEEAC8}"/>
                </a:ext>
              </a:extLst>
            </p:cNvPr>
            <p:cNvSpPr/>
            <p:nvPr/>
          </p:nvSpPr>
          <p:spPr>
            <a:xfrm>
              <a:off x="1204520" y="1929481"/>
              <a:ext cx="1331088" cy="1331088"/>
            </a:xfrm>
            <a:custGeom>
              <a:avLst/>
              <a:gdLst/>
              <a:ahLst/>
              <a:cxnLst/>
              <a:rect l="l" t="t" r="r" b="b"/>
              <a:pathLst>
                <a:path w="1331088" h="1331088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95276"/>
                    <a:pt x="1214692" y="1097821"/>
                    <a:pt x="1037656" y="1217424"/>
                  </a:cubicBezTo>
                  <a:lnTo>
                    <a:pt x="969846" y="1254230"/>
                  </a:lnTo>
                  <a:lnTo>
                    <a:pt x="969846" y="290791"/>
                  </a:lnTo>
                  <a:lnTo>
                    <a:pt x="754194" y="290791"/>
                  </a:lnTo>
                  <a:cubicBezTo>
                    <a:pt x="730803" y="321598"/>
                    <a:pt x="704132" y="349981"/>
                    <a:pt x="674180" y="375939"/>
                  </a:cubicBezTo>
                  <a:cubicBezTo>
                    <a:pt x="644228" y="401897"/>
                    <a:pt x="609427" y="424575"/>
                    <a:pt x="569777" y="443972"/>
                  </a:cubicBezTo>
                  <a:cubicBezTo>
                    <a:pt x="530127" y="463369"/>
                    <a:pt x="484058" y="478773"/>
                    <a:pt x="431572" y="490183"/>
                  </a:cubicBezTo>
                  <a:lnTo>
                    <a:pt x="431572" y="700701"/>
                  </a:lnTo>
                  <a:cubicBezTo>
                    <a:pt x="483488" y="693284"/>
                    <a:pt x="528415" y="682302"/>
                    <a:pt x="566354" y="667754"/>
                  </a:cubicBezTo>
                  <a:cubicBezTo>
                    <a:pt x="604293" y="653206"/>
                    <a:pt x="636669" y="636376"/>
                    <a:pt x="663483" y="617264"/>
                  </a:cubicBezTo>
                  <a:cubicBezTo>
                    <a:pt x="690297" y="598152"/>
                    <a:pt x="712832" y="578042"/>
                    <a:pt x="731088" y="556933"/>
                  </a:cubicBezTo>
                  <a:lnTo>
                    <a:pt x="731088" y="1324481"/>
                  </a:lnTo>
                  <a:lnTo>
                    <a:pt x="665544" y="1331088"/>
                  </a:lnTo>
                  <a:cubicBezTo>
                    <a:pt x="297974" y="1331088"/>
                    <a:pt x="0" y="1033114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4442249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46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6858243-E9E6-9938-50CF-F6835D04CA59}"/>
              </a:ext>
            </a:extLst>
          </p:cNvPr>
          <p:cNvGrpSpPr/>
          <p:nvPr/>
        </p:nvGrpSpPr>
        <p:grpSpPr>
          <a:xfrm>
            <a:off x="658566" y="516559"/>
            <a:ext cx="3661541" cy="1257791"/>
            <a:chOff x="1204520" y="4414017"/>
            <a:chExt cx="3976026" cy="1365821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541249D-4BFD-2BE2-0B9A-2111F37239D8}"/>
                </a:ext>
              </a:extLst>
            </p:cNvPr>
            <p:cNvSpPr txBox="1"/>
            <p:nvPr/>
          </p:nvSpPr>
          <p:spPr>
            <a:xfrm>
              <a:off x="2675751" y="4579509"/>
              <a:ext cx="250479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600" dirty="0"/>
                <a:t>Mobile application </a:t>
              </a:r>
              <a:r>
                <a:rPr lang="fr-FR" sz="1600" dirty="0" err="1"/>
                <a:t>with</a:t>
              </a:r>
              <a:r>
                <a:rPr lang="fr-FR" sz="1600" dirty="0"/>
                <a:t> interactive </a:t>
              </a:r>
              <a:r>
                <a:rPr lang="fr-FR" sz="1600" dirty="0" err="1"/>
                <a:t>maps</a:t>
              </a:r>
              <a:r>
                <a:rPr lang="fr-FR" sz="1600" dirty="0"/>
                <a:t> </a:t>
              </a:r>
              <a:r>
                <a:rPr lang="fr-FR" sz="1600" dirty="0" err="1"/>
                <a:t>between</a:t>
              </a:r>
              <a:r>
                <a:rPr lang="fr-FR" sz="1600" dirty="0"/>
                <a:t> all the green </a:t>
              </a:r>
              <a:r>
                <a:rPr lang="fr-FR" sz="1600" dirty="0" err="1"/>
                <a:t>spaces</a:t>
              </a:r>
              <a:endParaRPr lang="fr-FR" sz="1600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842AEA3-2360-76C8-C89C-0DBCA0934511}"/>
                </a:ext>
              </a:extLst>
            </p:cNvPr>
            <p:cNvSpPr/>
            <p:nvPr/>
          </p:nvSpPr>
          <p:spPr>
            <a:xfrm>
              <a:off x="1204520" y="4414017"/>
              <a:ext cx="1331088" cy="1254315"/>
            </a:xfrm>
            <a:custGeom>
              <a:avLst/>
              <a:gdLst/>
              <a:ahLst/>
              <a:cxnLst/>
              <a:rect l="l" t="t" r="r" b="b"/>
              <a:pathLst>
                <a:path w="1331088" h="1254315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49329"/>
                    <a:pt x="1256595" y="1015715"/>
                    <a:pt x="1136155" y="1136155"/>
                  </a:cubicBezTo>
                  <a:lnTo>
                    <a:pt x="1131521" y="1139979"/>
                  </a:lnTo>
                  <a:lnTo>
                    <a:pt x="678887" y="1139979"/>
                  </a:lnTo>
                  <a:lnTo>
                    <a:pt x="900529" y="944009"/>
                  </a:lnTo>
                  <a:cubicBezTo>
                    <a:pt x="946170" y="903503"/>
                    <a:pt x="987389" y="863425"/>
                    <a:pt x="1024186" y="823775"/>
                  </a:cubicBezTo>
                  <a:cubicBezTo>
                    <a:pt x="1060984" y="784125"/>
                    <a:pt x="1090080" y="741051"/>
                    <a:pt x="1111474" y="694555"/>
                  </a:cubicBezTo>
                  <a:cubicBezTo>
                    <a:pt x="1132868" y="648059"/>
                    <a:pt x="1143565" y="594859"/>
                    <a:pt x="1143565" y="534955"/>
                  </a:cubicBezTo>
                  <a:cubicBezTo>
                    <a:pt x="1143565" y="463071"/>
                    <a:pt x="1128162" y="402027"/>
                    <a:pt x="1097354" y="351822"/>
                  </a:cubicBezTo>
                  <a:cubicBezTo>
                    <a:pt x="1066547" y="301618"/>
                    <a:pt x="1023188" y="263108"/>
                    <a:pt x="967278" y="236294"/>
                  </a:cubicBezTo>
                  <a:cubicBezTo>
                    <a:pt x="911369" y="209481"/>
                    <a:pt x="845760" y="196074"/>
                    <a:pt x="770453" y="196074"/>
                  </a:cubicBezTo>
                  <a:cubicBezTo>
                    <a:pt x="689441" y="196074"/>
                    <a:pt x="620410" y="211620"/>
                    <a:pt x="563359" y="242713"/>
                  </a:cubicBezTo>
                  <a:cubicBezTo>
                    <a:pt x="506308" y="273805"/>
                    <a:pt x="462950" y="318733"/>
                    <a:pt x="433283" y="377495"/>
                  </a:cubicBezTo>
                  <a:cubicBezTo>
                    <a:pt x="403617" y="436257"/>
                    <a:pt x="388783" y="506715"/>
                    <a:pt x="388783" y="588868"/>
                  </a:cubicBezTo>
                  <a:lnTo>
                    <a:pt x="606147" y="588868"/>
                  </a:lnTo>
                  <a:cubicBezTo>
                    <a:pt x="606147" y="531818"/>
                    <a:pt x="618841" y="485321"/>
                    <a:pt x="644228" y="449379"/>
                  </a:cubicBezTo>
                  <a:cubicBezTo>
                    <a:pt x="669616" y="413437"/>
                    <a:pt x="711691" y="395466"/>
                    <a:pt x="770453" y="395466"/>
                  </a:cubicBezTo>
                  <a:cubicBezTo>
                    <a:pt x="822369" y="395466"/>
                    <a:pt x="858882" y="410299"/>
                    <a:pt x="879991" y="439966"/>
                  </a:cubicBezTo>
                  <a:cubicBezTo>
                    <a:pt x="901099" y="469632"/>
                    <a:pt x="911654" y="506715"/>
                    <a:pt x="911654" y="551215"/>
                  </a:cubicBezTo>
                  <a:cubicBezTo>
                    <a:pt x="911654" y="594003"/>
                    <a:pt x="900101" y="635650"/>
                    <a:pt x="876995" y="676156"/>
                  </a:cubicBezTo>
                  <a:cubicBezTo>
                    <a:pt x="853890" y="716662"/>
                    <a:pt x="818661" y="758594"/>
                    <a:pt x="771309" y="801953"/>
                  </a:cubicBezTo>
                  <a:lnTo>
                    <a:pt x="361399" y="1175065"/>
                  </a:lnTo>
                  <a:lnTo>
                    <a:pt x="361399" y="1254315"/>
                  </a:lnTo>
                  <a:lnTo>
                    <a:pt x="293432" y="1217424"/>
                  </a:lnTo>
                  <a:cubicBezTo>
                    <a:pt x="116396" y="1097821"/>
                    <a:pt x="0" y="895276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pic>
        <p:nvPicPr>
          <p:cNvPr id="2118" name="Picture 2117">
            <a:extLst>
              <a:ext uri="{FF2B5EF4-FFF2-40B4-BE49-F238E27FC236}">
                <a16:creationId xmlns:a16="http://schemas.microsoft.com/office/drawing/2014/main" id="{1C3810E2-D020-A293-25D9-06D31FF9D9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7755" y="1350951"/>
            <a:ext cx="3116490" cy="4156098"/>
          </a:xfrm>
          <a:prstGeom prst="roundRect">
            <a:avLst>
              <a:gd name="adj" fmla="val 7213"/>
            </a:avLst>
          </a:prstGeom>
          <a:effectLst/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201FD6B-6493-07B2-FE05-54351A65EC9D}"/>
              </a:ext>
            </a:extLst>
          </p:cNvPr>
          <p:cNvCxnSpPr>
            <a:cxnSpLocks/>
          </p:cNvCxnSpPr>
          <p:nvPr/>
        </p:nvCxnSpPr>
        <p:spPr>
          <a:xfrm flipH="1">
            <a:off x="6180881" y="2956560"/>
            <a:ext cx="2596044" cy="0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5B4CFDD-E355-5D40-8CC5-91838CA73ADA}"/>
              </a:ext>
            </a:extLst>
          </p:cNvPr>
          <p:cNvCxnSpPr/>
          <p:nvPr/>
        </p:nvCxnSpPr>
        <p:spPr>
          <a:xfrm flipH="1">
            <a:off x="6531565" y="4395216"/>
            <a:ext cx="2245360" cy="0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6B2411E-29CC-3192-7BDE-4573BF398B04}"/>
              </a:ext>
            </a:extLst>
          </p:cNvPr>
          <p:cNvSpPr txBox="1"/>
          <p:nvPr/>
        </p:nvSpPr>
        <p:spPr>
          <a:xfrm>
            <a:off x="8065654" y="2795016"/>
            <a:ext cx="2956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dirty="0" err="1"/>
              <a:t>Gardener's</a:t>
            </a:r>
            <a:r>
              <a:rPr lang="fr-FR" dirty="0"/>
              <a:t> </a:t>
            </a:r>
            <a:r>
              <a:rPr lang="fr-FR" b="1" dirty="0" err="1">
                <a:solidFill>
                  <a:srgbClr val="116A1B"/>
                </a:solidFill>
              </a:rPr>
              <a:t>statistics</a:t>
            </a:r>
            <a:endParaRPr lang="fr-FR" b="1" dirty="0">
              <a:solidFill>
                <a:srgbClr val="116A1B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493536-E523-E2FB-B0CF-4E6B4FF81594}"/>
              </a:ext>
            </a:extLst>
          </p:cNvPr>
          <p:cNvSpPr txBox="1"/>
          <p:nvPr/>
        </p:nvSpPr>
        <p:spPr>
          <a:xfrm>
            <a:off x="8776925" y="3143750"/>
            <a:ext cx="2956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dirty="0" err="1">
                <a:solidFill>
                  <a:srgbClr val="116A1B"/>
                </a:solidFill>
              </a:rPr>
              <a:t>Successes</a:t>
            </a:r>
            <a:r>
              <a:rPr lang="fr-FR" b="1" dirty="0">
                <a:solidFill>
                  <a:srgbClr val="116A1B"/>
                </a:solidFill>
              </a:rPr>
              <a:t> </a:t>
            </a:r>
            <a:r>
              <a:rPr lang="fr-FR" dirty="0"/>
              <a:t>and </a:t>
            </a:r>
            <a:r>
              <a:rPr lang="fr-FR" b="1" dirty="0" err="1">
                <a:solidFill>
                  <a:srgbClr val="116A1B"/>
                </a:solidFill>
              </a:rPr>
              <a:t>awards</a:t>
            </a:r>
            <a:endParaRPr lang="fr-FR" b="1" dirty="0">
              <a:solidFill>
                <a:srgbClr val="116A1B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8ECBB06-C46F-7D04-E7E3-C2DBA4A7A27F}"/>
              </a:ext>
            </a:extLst>
          </p:cNvPr>
          <p:cNvCxnSpPr>
            <a:cxnSpLocks/>
          </p:cNvCxnSpPr>
          <p:nvPr/>
        </p:nvCxnSpPr>
        <p:spPr>
          <a:xfrm flipH="1">
            <a:off x="6379763" y="3328416"/>
            <a:ext cx="2397162" cy="0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9C30B2-0D58-834D-B3B7-030E15FF9B9D}"/>
              </a:ext>
            </a:extLst>
          </p:cNvPr>
          <p:cNvSpPr txBox="1"/>
          <p:nvPr/>
        </p:nvSpPr>
        <p:spPr>
          <a:xfrm>
            <a:off x="8776925" y="421055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 err="1"/>
              <a:t>Gardening</a:t>
            </a:r>
            <a:r>
              <a:rPr lang="fr-FR" dirty="0"/>
              <a:t> </a:t>
            </a:r>
            <a:r>
              <a:rPr lang="fr-FR" b="1" dirty="0" err="1">
                <a:solidFill>
                  <a:srgbClr val="116A1B"/>
                </a:solidFill>
              </a:rPr>
              <a:t>communities</a:t>
            </a:r>
            <a:endParaRPr lang="fr-FR" b="1" dirty="0">
              <a:solidFill>
                <a:srgbClr val="116A1B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E07F92-E48B-14A1-D293-B54925DC4A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786" y="2236894"/>
            <a:ext cx="1981599" cy="4295986"/>
          </a:xfrm>
          <a:prstGeom prst="roundRect">
            <a:avLst/>
          </a:prstGeom>
        </p:spPr>
      </p:pic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35C888C-08E0-E4BC-1A6B-6763157A0947}"/>
              </a:ext>
            </a:extLst>
          </p:cNvPr>
          <p:cNvSpPr/>
          <p:nvPr/>
        </p:nvSpPr>
        <p:spPr>
          <a:xfrm>
            <a:off x="13088561" y="8155486"/>
            <a:ext cx="5838607" cy="3109466"/>
          </a:xfrm>
          <a:custGeom>
            <a:avLst/>
            <a:gdLst>
              <a:gd name="connsiteX0" fmla="*/ 5386312 w 5838607"/>
              <a:gd name="connsiteY0" fmla="*/ 240888 h 3109466"/>
              <a:gd name="connsiteX1" fmla="*/ 4090912 w 5838607"/>
              <a:gd name="connsiteY1" fmla="*/ 134208 h 3109466"/>
              <a:gd name="connsiteX2" fmla="*/ 2871712 w 5838607"/>
              <a:gd name="connsiteY2" fmla="*/ 637128 h 3109466"/>
              <a:gd name="connsiteX3" fmla="*/ 1820152 w 5838607"/>
              <a:gd name="connsiteY3" fmla="*/ 530448 h 3109466"/>
              <a:gd name="connsiteX4" fmla="*/ 1271512 w 5838607"/>
              <a:gd name="connsiteY4" fmla="*/ 896208 h 3109466"/>
              <a:gd name="connsiteX5" fmla="*/ 1012432 w 5838607"/>
              <a:gd name="connsiteY5" fmla="*/ 2008728 h 3109466"/>
              <a:gd name="connsiteX6" fmla="*/ 6592 w 5838607"/>
              <a:gd name="connsiteY6" fmla="*/ 2831688 h 3109466"/>
              <a:gd name="connsiteX7" fmla="*/ 1561072 w 5838607"/>
              <a:gd name="connsiteY7" fmla="*/ 3106008 h 3109466"/>
              <a:gd name="connsiteX8" fmla="*/ 5538712 w 5838607"/>
              <a:gd name="connsiteY8" fmla="*/ 2679288 h 3109466"/>
              <a:gd name="connsiteX9" fmla="*/ 5386312 w 5838607"/>
              <a:gd name="connsiteY9" fmla="*/ 240888 h 3109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38607" h="3109466">
                <a:moveTo>
                  <a:pt x="5386312" y="240888"/>
                </a:moveTo>
                <a:cubicBezTo>
                  <a:pt x="5145012" y="-183292"/>
                  <a:pt x="4510012" y="68168"/>
                  <a:pt x="4090912" y="134208"/>
                </a:cubicBezTo>
                <a:cubicBezTo>
                  <a:pt x="3671812" y="200248"/>
                  <a:pt x="3250172" y="571088"/>
                  <a:pt x="2871712" y="637128"/>
                </a:cubicBezTo>
                <a:cubicBezTo>
                  <a:pt x="2493252" y="703168"/>
                  <a:pt x="2086852" y="487268"/>
                  <a:pt x="1820152" y="530448"/>
                </a:cubicBezTo>
                <a:cubicBezTo>
                  <a:pt x="1553452" y="573628"/>
                  <a:pt x="1406132" y="649828"/>
                  <a:pt x="1271512" y="896208"/>
                </a:cubicBezTo>
                <a:cubicBezTo>
                  <a:pt x="1136892" y="1142588"/>
                  <a:pt x="1223252" y="1686148"/>
                  <a:pt x="1012432" y="2008728"/>
                </a:cubicBezTo>
                <a:cubicBezTo>
                  <a:pt x="801612" y="2331308"/>
                  <a:pt x="-84848" y="2648808"/>
                  <a:pt x="6592" y="2831688"/>
                </a:cubicBezTo>
                <a:cubicBezTo>
                  <a:pt x="98032" y="3014568"/>
                  <a:pt x="639052" y="3131408"/>
                  <a:pt x="1561072" y="3106008"/>
                </a:cubicBezTo>
                <a:cubicBezTo>
                  <a:pt x="2483092" y="3080608"/>
                  <a:pt x="4896092" y="3159348"/>
                  <a:pt x="5538712" y="2679288"/>
                </a:cubicBezTo>
                <a:cubicBezTo>
                  <a:pt x="6181332" y="2199228"/>
                  <a:pt x="5627612" y="665068"/>
                  <a:pt x="5386312" y="24088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0729806-4993-FF35-CB6D-011542C3D55F}"/>
              </a:ext>
            </a:extLst>
          </p:cNvPr>
          <p:cNvGrpSpPr/>
          <p:nvPr/>
        </p:nvGrpSpPr>
        <p:grpSpPr>
          <a:xfrm>
            <a:off x="12706222" y="6308782"/>
            <a:ext cx="1532894" cy="1512806"/>
            <a:chOff x="9790816" y="2831970"/>
            <a:chExt cx="2714189" cy="2678620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57FC0DF-7B88-0A17-B75B-C3A69295D83C}"/>
                </a:ext>
              </a:extLst>
            </p:cNvPr>
            <p:cNvSpPr/>
            <p:nvPr/>
          </p:nvSpPr>
          <p:spPr>
            <a:xfrm>
              <a:off x="9790816" y="2831970"/>
              <a:ext cx="2714189" cy="1457354"/>
            </a:xfrm>
            <a:custGeom>
              <a:avLst/>
              <a:gdLst>
                <a:gd name="connsiteX0" fmla="*/ 1345230 w 2714189"/>
                <a:gd name="connsiteY0" fmla="*/ 0 h 1457354"/>
                <a:gd name="connsiteX1" fmla="*/ 1357095 w 2714189"/>
                <a:gd name="connsiteY1" fmla="*/ 909 h 1457354"/>
                <a:gd name="connsiteX2" fmla="*/ 1368959 w 2714189"/>
                <a:gd name="connsiteY2" fmla="*/ 0 h 1457354"/>
                <a:gd name="connsiteX3" fmla="*/ 1400570 w 2714189"/>
                <a:gd name="connsiteY3" fmla="*/ 4241 h 1457354"/>
                <a:gd name="connsiteX4" fmla="*/ 1403957 w 2714189"/>
                <a:gd name="connsiteY4" fmla="*/ 4500 h 1457354"/>
                <a:gd name="connsiteX5" fmla="*/ 1405870 w 2714189"/>
                <a:gd name="connsiteY5" fmla="*/ 4952 h 1457354"/>
                <a:gd name="connsiteX6" fmla="*/ 1469151 w 2714189"/>
                <a:gd name="connsiteY6" fmla="*/ 13441 h 1457354"/>
                <a:gd name="connsiteX7" fmla="*/ 1654435 w 2714189"/>
                <a:gd name="connsiteY7" fmla="*/ 176862 h 1457354"/>
                <a:gd name="connsiteX8" fmla="*/ 1655021 w 2714189"/>
                <a:gd name="connsiteY8" fmla="*/ 181288 h 1457354"/>
                <a:gd name="connsiteX9" fmla="*/ 1660058 w 2714189"/>
                <a:gd name="connsiteY9" fmla="*/ 178832 h 1457354"/>
                <a:gd name="connsiteX10" fmla="*/ 1870956 w 2714189"/>
                <a:gd name="connsiteY10" fmla="*/ 181289 h 1457354"/>
                <a:gd name="connsiteX11" fmla="*/ 2060986 w 2714189"/>
                <a:gd name="connsiteY11" fmla="*/ 459247 h 1457354"/>
                <a:gd name="connsiteX12" fmla="*/ 2052465 w 2714189"/>
                <a:gd name="connsiteY12" fmla="*/ 494004 h 1457354"/>
                <a:gd name="connsiteX13" fmla="*/ 2058094 w 2714189"/>
                <a:gd name="connsiteY13" fmla="*/ 491353 h 1457354"/>
                <a:gd name="connsiteX14" fmla="*/ 2300231 w 2714189"/>
                <a:gd name="connsiteY14" fmla="*/ 524185 h 1457354"/>
                <a:gd name="connsiteX15" fmla="*/ 2416086 w 2714189"/>
                <a:gd name="connsiteY15" fmla="*/ 853739 h 1457354"/>
                <a:gd name="connsiteX16" fmla="*/ 2401265 w 2714189"/>
                <a:gd name="connsiteY16" fmla="*/ 872514 h 1457354"/>
                <a:gd name="connsiteX17" fmla="*/ 2401442 w 2714189"/>
                <a:gd name="connsiteY17" fmla="*/ 872488 h 1457354"/>
                <a:gd name="connsiteX18" fmla="*/ 2713888 w 2714189"/>
                <a:gd name="connsiteY18" fmla="*/ 1151131 h 1457354"/>
                <a:gd name="connsiteX19" fmla="*/ 2428074 w 2714189"/>
                <a:gd name="connsiteY19" fmla="*/ 1457031 h 1457354"/>
                <a:gd name="connsiteX20" fmla="*/ 2258555 w 2714189"/>
                <a:gd name="connsiteY20" fmla="*/ 1414735 h 1457354"/>
                <a:gd name="connsiteX21" fmla="*/ 2226162 w 2714189"/>
                <a:gd name="connsiteY21" fmla="*/ 1390970 h 1457354"/>
                <a:gd name="connsiteX22" fmla="*/ 2179671 w 2714189"/>
                <a:gd name="connsiteY22" fmla="*/ 1421201 h 1457354"/>
                <a:gd name="connsiteX23" fmla="*/ 2064395 w 2714189"/>
                <a:gd name="connsiteY23" fmla="*/ 1451941 h 1457354"/>
                <a:gd name="connsiteX24" fmla="*/ 1809851 w 2714189"/>
                <a:gd name="connsiteY24" fmla="*/ 1320543 h 1457354"/>
                <a:gd name="connsiteX25" fmla="*/ 1807226 w 2714189"/>
                <a:gd name="connsiteY25" fmla="*/ 1315857 h 1457354"/>
                <a:gd name="connsiteX26" fmla="*/ 1769070 w 2714189"/>
                <a:gd name="connsiteY26" fmla="*/ 1321378 h 1457354"/>
                <a:gd name="connsiteX27" fmla="*/ 1515157 w 2714189"/>
                <a:gd name="connsiteY27" fmla="*/ 1203819 h 1457354"/>
                <a:gd name="connsiteX28" fmla="*/ 1495357 w 2714189"/>
                <a:gd name="connsiteY28" fmla="*/ 1171712 h 1457354"/>
                <a:gd name="connsiteX29" fmla="*/ 1442290 w 2714189"/>
                <a:gd name="connsiteY29" fmla="*/ 1190485 h 1457354"/>
                <a:gd name="connsiteX30" fmla="*/ 1382275 w 2714189"/>
                <a:gd name="connsiteY30" fmla="*/ 1199169 h 1457354"/>
                <a:gd name="connsiteX31" fmla="*/ 1357095 w 2714189"/>
                <a:gd name="connsiteY31" fmla="*/ 1197842 h 1457354"/>
                <a:gd name="connsiteX32" fmla="*/ 1331914 w 2714189"/>
                <a:gd name="connsiteY32" fmla="*/ 1199169 h 1457354"/>
                <a:gd name="connsiteX33" fmla="*/ 1271899 w 2714189"/>
                <a:gd name="connsiteY33" fmla="*/ 1190485 h 1457354"/>
                <a:gd name="connsiteX34" fmla="*/ 1218832 w 2714189"/>
                <a:gd name="connsiteY34" fmla="*/ 1171712 h 1457354"/>
                <a:gd name="connsiteX35" fmla="*/ 1199032 w 2714189"/>
                <a:gd name="connsiteY35" fmla="*/ 1203819 h 1457354"/>
                <a:gd name="connsiteX36" fmla="*/ 945118 w 2714189"/>
                <a:gd name="connsiteY36" fmla="*/ 1321378 h 1457354"/>
                <a:gd name="connsiteX37" fmla="*/ 906963 w 2714189"/>
                <a:gd name="connsiteY37" fmla="*/ 1315857 h 1457354"/>
                <a:gd name="connsiteX38" fmla="*/ 904338 w 2714189"/>
                <a:gd name="connsiteY38" fmla="*/ 1320543 h 1457354"/>
                <a:gd name="connsiteX39" fmla="*/ 649794 w 2714189"/>
                <a:gd name="connsiteY39" fmla="*/ 1451941 h 1457354"/>
                <a:gd name="connsiteX40" fmla="*/ 534518 w 2714189"/>
                <a:gd name="connsiteY40" fmla="*/ 1421201 h 1457354"/>
                <a:gd name="connsiteX41" fmla="*/ 488027 w 2714189"/>
                <a:gd name="connsiteY41" fmla="*/ 1390970 h 1457354"/>
                <a:gd name="connsiteX42" fmla="*/ 455634 w 2714189"/>
                <a:gd name="connsiteY42" fmla="*/ 1414735 h 1457354"/>
                <a:gd name="connsiteX43" fmla="*/ 286114 w 2714189"/>
                <a:gd name="connsiteY43" fmla="*/ 1457031 h 1457354"/>
                <a:gd name="connsiteX44" fmla="*/ 301 w 2714189"/>
                <a:gd name="connsiteY44" fmla="*/ 1151131 h 1457354"/>
                <a:gd name="connsiteX45" fmla="*/ 312747 w 2714189"/>
                <a:gd name="connsiteY45" fmla="*/ 872488 h 1457354"/>
                <a:gd name="connsiteX46" fmla="*/ 312924 w 2714189"/>
                <a:gd name="connsiteY46" fmla="*/ 872514 h 1457354"/>
                <a:gd name="connsiteX47" fmla="*/ 298104 w 2714189"/>
                <a:gd name="connsiteY47" fmla="*/ 853739 h 1457354"/>
                <a:gd name="connsiteX48" fmla="*/ 413958 w 2714189"/>
                <a:gd name="connsiteY48" fmla="*/ 524185 h 1457354"/>
                <a:gd name="connsiteX49" fmla="*/ 656094 w 2714189"/>
                <a:gd name="connsiteY49" fmla="*/ 491353 h 1457354"/>
                <a:gd name="connsiteX50" fmla="*/ 661724 w 2714189"/>
                <a:gd name="connsiteY50" fmla="*/ 494004 h 1457354"/>
                <a:gd name="connsiteX51" fmla="*/ 653203 w 2714189"/>
                <a:gd name="connsiteY51" fmla="*/ 459247 h 1457354"/>
                <a:gd name="connsiteX52" fmla="*/ 843233 w 2714189"/>
                <a:gd name="connsiteY52" fmla="*/ 181289 h 1457354"/>
                <a:gd name="connsiteX53" fmla="*/ 1054131 w 2714189"/>
                <a:gd name="connsiteY53" fmla="*/ 178832 h 1457354"/>
                <a:gd name="connsiteX54" fmla="*/ 1059168 w 2714189"/>
                <a:gd name="connsiteY54" fmla="*/ 181288 h 1457354"/>
                <a:gd name="connsiteX55" fmla="*/ 1059754 w 2714189"/>
                <a:gd name="connsiteY55" fmla="*/ 176862 h 1457354"/>
                <a:gd name="connsiteX56" fmla="*/ 1245038 w 2714189"/>
                <a:gd name="connsiteY56" fmla="*/ 13441 h 1457354"/>
                <a:gd name="connsiteX57" fmla="*/ 1308319 w 2714189"/>
                <a:gd name="connsiteY57" fmla="*/ 4952 h 1457354"/>
                <a:gd name="connsiteX58" fmla="*/ 1310232 w 2714189"/>
                <a:gd name="connsiteY58" fmla="*/ 4500 h 1457354"/>
                <a:gd name="connsiteX59" fmla="*/ 1313619 w 2714189"/>
                <a:gd name="connsiteY59" fmla="*/ 4241 h 145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714189" h="1457354">
                  <a:moveTo>
                    <a:pt x="1345230" y="0"/>
                  </a:moveTo>
                  <a:lnTo>
                    <a:pt x="1357095" y="909"/>
                  </a:lnTo>
                  <a:lnTo>
                    <a:pt x="1368959" y="0"/>
                  </a:lnTo>
                  <a:lnTo>
                    <a:pt x="1400570" y="4241"/>
                  </a:lnTo>
                  <a:lnTo>
                    <a:pt x="1403957" y="4500"/>
                  </a:lnTo>
                  <a:lnTo>
                    <a:pt x="1405870" y="4952"/>
                  </a:lnTo>
                  <a:lnTo>
                    <a:pt x="1469151" y="13441"/>
                  </a:lnTo>
                  <a:cubicBezTo>
                    <a:pt x="1562875" y="39527"/>
                    <a:pt x="1634056" y="101161"/>
                    <a:pt x="1654435" y="176862"/>
                  </a:cubicBezTo>
                  <a:lnTo>
                    <a:pt x="1655021" y="181288"/>
                  </a:lnTo>
                  <a:lnTo>
                    <a:pt x="1660058" y="178832"/>
                  </a:lnTo>
                  <a:cubicBezTo>
                    <a:pt x="1723025" y="155293"/>
                    <a:pt x="1798299" y="154252"/>
                    <a:pt x="1870956" y="181289"/>
                  </a:cubicBezTo>
                  <a:cubicBezTo>
                    <a:pt x="1998106" y="228604"/>
                    <a:pt x="2075110" y="346229"/>
                    <a:pt x="2060986" y="459247"/>
                  </a:cubicBezTo>
                  <a:lnTo>
                    <a:pt x="2052465" y="494004"/>
                  </a:lnTo>
                  <a:lnTo>
                    <a:pt x="2058094" y="491353"/>
                  </a:lnTo>
                  <a:cubicBezTo>
                    <a:pt x="2130173" y="466201"/>
                    <a:pt x="2220543" y="475774"/>
                    <a:pt x="2300231" y="524185"/>
                  </a:cubicBezTo>
                  <a:cubicBezTo>
                    <a:pt x="2427731" y="601641"/>
                    <a:pt x="2479600" y="749188"/>
                    <a:pt x="2416086" y="853739"/>
                  </a:cubicBezTo>
                  <a:lnTo>
                    <a:pt x="2401265" y="872514"/>
                  </a:lnTo>
                  <a:lnTo>
                    <a:pt x="2401442" y="872488"/>
                  </a:lnTo>
                  <a:cubicBezTo>
                    <a:pt x="2566647" y="864961"/>
                    <a:pt x="2706533" y="989714"/>
                    <a:pt x="2713888" y="1151131"/>
                  </a:cubicBezTo>
                  <a:cubicBezTo>
                    <a:pt x="2721242" y="1312548"/>
                    <a:pt x="2593279" y="1449504"/>
                    <a:pt x="2428074" y="1457031"/>
                  </a:cubicBezTo>
                  <a:cubicBezTo>
                    <a:pt x="2366123" y="1459853"/>
                    <a:pt x="2307732" y="1444074"/>
                    <a:pt x="2258555" y="1414735"/>
                  </a:cubicBezTo>
                  <a:lnTo>
                    <a:pt x="2226162" y="1390970"/>
                  </a:lnTo>
                  <a:lnTo>
                    <a:pt x="2179671" y="1421201"/>
                  </a:lnTo>
                  <a:cubicBezTo>
                    <a:pt x="2144630" y="1439210"/>
                    <a:pt x="2105696" y="1450059"/>
                    <a:pt x="2064395" y="1451941"/>
                  </a:cubicBezTo>
                  <a:cubicBezTo>
                    <a:pt x="1961143" y="1456645"/>
                    <a:pt x="1867529" y="1404188"/>
                    <a:pt x="1809851" y="1320543"/>
                  </a:cubicBezTo>
                  <a:lnTo>
                    <a:pt x="1807226" y="1315857"/>
                  </a:lnTo>
                  <a:lnTo>
                    <a:pt x="1769070" y="1321378"/>
                  </a:lnTo>
                  <a:cubicBezTo>
                    <a:pt x="1665818" y="1326083"/>
                    <a:pt x="1572455" y="1279115"/>
                    <a:pt x="1515157" y="1203819"/>
                  </a:cubicBezTo>
                  <a:lnTo>
                    <a:pt x="1495357" y="1171712"/>
                  </a:lnTo>
                  <a:lnTo>
                    <a:pt x="1442290" y="1190485"/>
                  </a:lnTo>
                  <a:cubicBezTo>
                    <a:pt x="1422994" y="1195265"/>
                    <a:pt x="1402926" y="1198228"/>
                    <a:pt x="1382275" y="1199169"/>
                  </a:cubicBezTo>
                  <a:lnTo>
                    <a:pt x="1357095" y="1197842"/>
                  </a:lnTo>
                  <a:lnTo>
                    <a:pt x="1331914" y="1199169"/>
                  </a:lnTo>
                  <a:cubicBezTo>
                    <a:pt x="1311263" y="1198228"/>
                    <a:pt x="1291195" y="1195265"/>
                    <a:pt x="1271899" y="1190485"/>
                  </a:cubicBezTo>
                  <a:lnTo>
                    <a:pt x="1218832" y="1171712"/>
                  </a:lnTo>
                  <a:lnTo>
                    <a:pt x="1199032" y="1203819"/>
                  </a:lnTo>
                  <a:cubicBezTo>
                    <a:pt x="1141734" y="1279115"/>
                    <a:pt x="1048371" y="1326083"/>
                    <a:pt x="945118" y="1321378"/>
                  </a:cubicBezTo>
                  <a:lnTo>
                    <a:pt x="906963" y="1315857"/>
                  </a:lnTo>
                  <a:lnTo>
                    <a:pt x="904338" y="1320543"/>
                  </a:lnTo>
                  <a:cubicBezTo>
                    <a:pt x="846660" y="1404188"/>
                    <a:pt x="753046" y="1456645"/>
                    <a:pt x="649794" y="1451941"/>
                  </a:cubicBezTo>
                  <a:cubicBezTo>
                    <a:pt x="608493" y="1450059"/>
                    <a:pt x="569559" y="1439210"/>
                    <a:pt x="534518" y="1421201"/>
                  </a:cubicBezTo>
                  <a:lnTo>
                    <a:pt x="488027" y="1390970"/>
                  </a:lnTo>
                  <a:lnTo>
                    <a:pt x="455634" y="1414735"/>
                  </a:lnTo>
                  <a:cubicBezTo>
                    <a:pt x="406457" y="1444074"/>
                    <a:pt x="348066" y="1459853"/>
                    <a:pt x="286114" y="1457031"/>
                  </a:cubicBezTo>
                  <a:cubicBezTo>
                    <a:pt x="120910" y="1449504"/>
                    <a:pt x="-7053" y="1312548"/>
                    <a:pt x="301" y="1151131"/>
                  </a:cubicBezTo>
                  <a:cubicBezTo>
                    <a:pt x="7656" y="989714"/>
                    <a:pt x="147542" y="864961"/>
                    <a:pt x="312747" y="872488"/>
                  </a:cubicBezTo>
                  <a:lnTo>
                    <a:pt x="312924" y="872514"/>
                  </a:lnTo>
                  <a:lnTo>
                    <a:pt x="298104" y="853739"/>
                  </a:lnTo>
                  <a:cubicBezTo>
                    <a:pt x="234588" y="749188"/>
                    <a:pt x="286458" y="601641"/>
                    <a:pt x="413958" y="524185"/>
                  </a:cubicBezTo>
                  <a:cubicBezTo>
                    <a:pt x="493646" y="475774"/>
                    <a:pt x="584016" y="466201"/>
                    <a:pt x="656094" y="491353"/>
                  </a:cubicBezTo>
                  <a:lnTo>
                    <a:pt x="661724" y="494004"/>
                  </a:lnTo>
                  <a:lnTo>
                    <a:pt x="653203" y="459247"/>
                  </a:lnTo>
                  <a:cubicBezTo>
                    <a:pt x="639079" y="346229"/>
                    <a:pt x="716083" y="228604"/>
                    <a:pt x="843233" y="181289"/>
                  </a:cubicBezTo>
                  <a:cubicBezTo>
                    <a:pt x="915890" y="154252"/>
                    <a:pt x="991164" y="155293"/>
                    <a:pt x="1054131" y="178832"/>
                  </a:cubicBezTo>
                  <a:lnTo>
                    <a:pt x="1059168" y="181288"/>
                  </a:lnTo>
                  <a:lnTo>
                    <a:pt x="1059754" y="176862"/>
                  </a:lnTo>
                  <a:cubicBezTo>
                    <a:pt x="1080133" y="101161"/>
                    <a:pt x="1151314" y="39527"/>
                    <a:pt x="1245038" y="13441"/>
                  </a:cubicBezTo>
                  <a:lnTo>
                    <a:pt x="1308319" y="4952"/>
                  </a:lnTo>
                  <a:lnTo>
                    <a:pt x="1310232" y="4500"/>
                  </a:lnTo>
                  <a:lnTo>
                    <a:pt x="1313619" y="424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0F31893-854D-D376-9A88-AF16D172D500}"/>
                </a:ext>
              </a:extLst>
            </p:cNvPr>
            <p:cNvSpPr/>
            <p:nvPr/>
          </p:nvSpPr>
          <p:spPr>
            <a:xfrm>
              <a:off x="10733693" y="4094414"/>
              <a:ext cx="841110" cy="1416176"/>
            </a:xfrm>
            <a:custGeom>
              <a:avLst/>
              <a:gdLst>
                <a:gd name="connsiteX0" fmla="*/ 335852 w 841110"/>
                <a:gd name="connsiteY0" fmla="*/ 0 h 1416176"/>
                <a:gd name="connsiteX1" fmla="*/ 420555 w 841110"/>
                <a:gd name="connsiteY1" fmla="*/ 19126 h 1416176"/>
                <a:gd name="connsiteX2" fmla="*/ 505258 w 841110"/>
                <a:gd name="connsiteY2" fmla="*/ 0 h 1416176"/>
                <a:gd name="connsiteX3" fmla="*/ 541642 w 841110"/>
                <a:gd name="connsiteY3" fmla="*/ 39183 h 1416176"/>
                <a:gd name="connsiteX4" fmla="*/ 547240 w 841110"/>
                <a:gd name="connsiteY4" fmla="*/ 251889 h 1416176"/>
                <a:gd name="connsiteX5" fmla="*/ 656391 w 841110"/>
                <a:gd name="connsiteY5" fmla="*/ 302267 h 1416176"/>
                <a:gd name="connsiteX6" fmla="*/ 790732 w 841110"/>
                <a:gd name="connsiteY6" fmla="*/ 128744 h 1416176"/>
                <a:gd name="connsiteX7" fmla="*/ 841110 w 841110"/>
                <a:gd name="connsiteY7" fmla="*/ 173524 h 1416176"/>
                <a:gd name="connsiteX8" fmla="*/ 550038 w 841110"/>
                <a:gd name="connsiteY8" fmla="*/ 733277 h 1416176"/>
                <a:gd name="connsiteX9" fmla="*/ 541642 w 841110"/>
                <a:gd name="connsiteY9" fmla="*/ 1018751 h 1416176"/>
                <a:gd name="connsiteX10" fmla="*/ 547240 w 841110"/>
                <a:gd name="connsiteY10" fmla="*/ 1343408 h 1416176"/>
                <a:gd name="connsiteX11" fmla="*/ 572428 w 841110"/>
                <a:gd name="connsiteY11" fmla="*/ 1410579 h 1416176"/>
                <a:gd name="connsiteX12" fmla="*/ 431006 w 841110"/>
                <a:gd name="connsiteY12" fmla="*/ 1415455 h 1416176"/>
                <a:gd name="connsiteX13" fmla="*/ 431010 w 841110"/>
                <a:gd name="connsiteY13" fmla="*/ 1416176 h 1416176"/>
                <a:gd name="connsiteX14" fmla="*/ 420555 w 841110"/>
                <a:gd name="connsiteY14" fmla="*/ 1415816 h 1416176"/>
                <a:gd name="connsiteX15" fmla="*/ 410100 w 841110"/>
                <a:gd name="connsiteY15" fmla="*/ 1416176 h 1416176"/>
                <a:gd name="connsiteX16" fmla="*/ 410104 w 841110"/>
                <a:gd name="connsiteY16" fmla="*/ 1415455 h 1416176"/>
                <a:gd name="connsiteX17" fmla="*/ 268682 w 841110"/>
                <a:gd name="connsiteY17" fmla="*/ 1410579 h 1416176"/>
                <a:gd name="connsiteX18" fmla="*/ 293870 w 841110"/>
                <a:gd name="connsiteY18" fmla="*/ 1343408 h 1416176"/>
                <a:gd name="connsiteX19" fmla="*/ 299468 w 841110"/>
                <a:gd name="connsiteY19" fmla="*/ 1018751 h 1416176"/>
                <a:gd name="connsiteX20" fmla="*/ 291072 w 841110"/>
                <a:gd name="connsiteY20" fmla="*/ 733277 h 1416176"/>
                <a:gd name="connsiteX21" fmla="*/ 0 w 841110"/>
                <a:gd name="connsiteY21" fmla="*/ 173524 h 1416176"/>
                <a:gd name="connsiteX22" fmla="*/ 50378 w 841110"/>
                <a:gd name="connsiteY22" fmla="*/ 128744 h 1416176"/>
                <a:gd name="connsiteX23" fmla="*/ 184719 w 841110"/>
                <a:gd name="connsiteY23" fmla="*/ 302267 h 1416176"/>
                <a:gd name="connsiteX24" fmla="*/ 293870 w 841110"/>
                <a:gd name="connsiteY24" fmla="*/ 251889 h 1416176"/>
                <a:gd name="connsiteX25" fmla="*/ 299468 w 841110"/>
                <a:gd name="connsiteY25" fmla="*/ 39183 h 1416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41110" h="1416176">
                  <a:moveTo>
                    <a:pt x="335852" y="0"/>
                  </a:moveTo>
                  <a:lnTo>
                    <a:pt x="420555" y="19126"/>
                  </a:lnTo>
                  <a:lnTo>
                    <a:pt x="505258" y="0"/>
                  </a:lnTo>
                  <a:lnTo>
                    <a:pt x="541642" y="39183"/>
                  </a:lnTo>
                  <a:cubicBezTo>
                    <a:pt x="542575" y="109152"/>
                    <a:pt x="546307" y="181920"/>
                    <a:pt x="547240" y="251889"/>
                  </a:cubicBezTo>
                  <a:cubicBezTo>
                    <a:pt x="600416" y="327456"/>
                    <a:pt x="620007" y="285474"/>
                    <a:pt x="656391" y="302267"/>
                  </a:cubicBezTo>
                  <a:lnTo>
                    <a:pt x="790732" y="128744"/>
                  </a:lnTo>
                  <a:lnTo>
                    <a:pt x="841110" y="173524"/>
                  </a:lnTo>
                  <a:cubicBezTo>
                    <a:pt x="744086" y="360108"/>
                    <a:pt x="624672" y="535497"/>
                    <a:pt x="550038" y="733277"/>
                  </a:cubicBezTo>
                  <a:cubicBezTo>
                    <a:pt x="530447" y="848027"/>
                    <a:pt x="544441" y="923593"/>
                    <a:pt x="541642" y="1018751"/>
                  </a:cubicBezTo>
                  <a:lnTo>
                    <a:pt x="547240" y="1343408"/>
                  </a:lnTo>
                  <a:lnTo>
                    <a:pt x="572428" y="1410579"/>
                  </a:lnTo>
                  <a:lnTo>
                    <a:pt x="431006" y="1415455"/>
                  </a:lnTo>
                  <a:lnTo>
                    <a:pt x="431010" y="1416176"/>
                  </a:lnTo>
                  <a:lnTo>
                    <a:pt x="420555" y="1415816"/>
                  </a:lnTo>
                  <a:lnTo>
                    <a:pt x="410100" y="1416176"/>
                  </a:lnTo>
                  <a:lnTo>
                    <a:pt x="410104" y="1415455"/>
                  </a:lnTo>
                  <a:lnTo>
                    <a:pt x="268682" y="1410579"/>
                  </a:lnTo>
                  <a:lnTo>
                    <a:pt x="293870" y="1343408"/>
                  </a:lnTo>
                  <a:lnTo>
                    <a:pt x="299468" y="1018751"/>
                  </a:lnTo>
                  <a:cubicBezTo>
                    <a:pt x="296669" y="923593"/>
                    <a:pt x="310663" y="848027"/>
                    <a:pt x="291072" y="733277"/>
                  </a:cubicBezTo>
                  <a:cubicBezTo>
                    <a:pt x="216438" y="535497"/>
                    <a:pt x="97024" y="360108"/>
                    <a:pt x="0" y="173524"/>
                  </a:cubicBezTo>
                  <a:lnTo>
                    <a:pt x="50378" y="128744"/>
                  </a:lnTo>
                  <a:lnTo>
                    <a:pt x="184719" y="302267"/>
                  </a:lnTo>
                  <a:cubicBezTo>
                    <a:pt x="221103" y="285474"/>
                    <a:pt x="240694" y="327456"/>
                    <a:pt x="293870" y="251889"/>
                  </a:cubicBezTo>
                  <a:cubicBezTo>
                    <a:pt x="294803" y="181920"/>
                    <a:pt x="298535" y="109152"/>
                    <a:pt x="299468" y="39183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FE0AFDA-E19D-E8AC-E040-623B1255AD6F}"/>
              </a:ext>
            </a:extLst>
          </p:cNvPr>
          <p:cNvGrpSpPr/>
          <p:nvPr/>
        </p:nvGrpSpPr>
        <p:grpSpPr>
          <a:xfrm>
            <a:off x="11860503" y="7234307"/>
            <a:ext cx="1268822" cy="1252194"/>
            <a:chOff x="9790816" y="2831970"/>
            <a:chExt cx="2714189" cy="2678620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6F79189-C530-9218-B1EB-88BD6405E787}"/>
                </a:ext>
              </a:extLst>
            </p:cNvPr>
            <p:cNvSpPr/>
            <p:nvPr/>
          </p:nvSpPr>
          <p:spPr>
            <a:xfrm>
              <a:off x="9790816" y="2831970"/>
              <a:ext cx="2714189" cy="1457354"/>
            </a:xfrm>
            <a:custGeom>
              <a:avLst/>
              <a:gdLst>
                <a:gd name="connsiteX0" fmla="*/ 1345230 w 2714189"/>
                <a:gd name="connsiteY0" fmla="*/ 0 h 1457354"/>
                <a:gd name="connsiteX1" fmla="*/ 1357095 w 2714189"/>
                <a:gd name="connsiteY1" fmla="*/ 909 h 1457354"/>
                <a:gd name="connsiteX2" fmla="*/ 1368959 w 2714189"/>
                <a:gd name="connsiteY2" fmla="*/ 0 h 1457354"/>
                <a:gd name="connsiteX3" fmla="*/ 1400570 w 2714189"/>
                <a:gd name="connsiteY3" fmla="*/ 4241 h 1457354"/>
                <a:gd name="connsiteX4" fmla="*/ 1403957 w 2714189"/>
                <a:gd name="connsiteY4" fmla="*/ 4500 h 1457354"/>
                <a:gd name="connsiteX5" fmla="*/ 1405870 w 2714189"/>
                <a:gd name="connsiteY5" fmla="*/ 4952 h 1457354"/>
                <a:gd name="connsiteX6" fmla="*/ 1469151 w 2714189"/>
                <a:gd name="connsiteY6" fmla="*/ 13441 h 1457354"/>
                <a:gd name="connsiteX7" fmla="*/ 1654435 w 2714189"/>
                <a:gd name="connsiteY7" fmla="*/ 176862 h 1457354"/>
                <a:gd name="connsiteX8" fmla="*/ 1655021 w 2714189"/>
                <a:gd name="connsiteY8" fmla="*/ 181288 h 1457354"/>
                <a:gd name="connsiteX9" fmla="*/ 1660058 w 2714189"/>
                <a:gd name="connsiteY9" fmla="*/ 178832 h 1457354"/>
                <a:gd name="connsiteX10" fmla="*/ 1870956 w 2714189"/>
                <a:gd name="connsiteY10" fmla="*/ 181289 h 1457354"/>
                <a:gd name="connsiteX11" fmla="*/ 2060986 w 2714189"/>
                <a:gd name="connsiteY11" fmla="*/ 459247 h 1457354"/>
                <a:gd name="connsiteX12" fmla="*/ 2052465 w 2714189"/>
                <a:gd name="connsiteY12" fmla="*/ 494004 h 1457354"/>
                <a:gd name="connsiteX13" fmla="*/ 2058094 w 2714189"/>
                <a:gd name="connsiteY13" fmla="*/ 491353 h 1457354"/>
                <a:gd name="connsiteX14" fmla="*/ 2300231 w 2714189"/>
                <a:gd name="connsiteY14" fmla="*/ 524185 h 1457354"/>
                <a:gd name="connsiteX15" fmla="*/ 2416086 w 2714189"/>
                <a:gd name="connsiteY15" fmla="*/ 853739 h 1457354"/>
                <a:gd name="connsiteX16" fmla="*/ 2401265 w 2714189"/>
                <a:gd name="connsiteY16" fmla="*/ 872514 h 1457354"/>
                <a:gd name="connsiteX17" fmla="*/ 2401442 w 2714189"/>
                <a:gd name="connsiteY17" fmla="*/ 872488 h 1457354"/>
                <a:gd name="connsiteX18" fmla="*/ 2713888 w 2714189"/>
                <a:gd name="connsiteY18" fmla="*/ 1151131 h 1457354"/>
                <a:gd name="connsiteX19" fmla="*/ 2428074 w 2714189"/>
                <a:gd name="connsiteY19" fmla="*/ 1457031 h 1457354"/>
                <a:gd name="connsiteX20" fmla="*/ 2258555 w 2714189"/>
                <a:gd name="connsiteY20" fmla="*/ 1414735 h 1457354"/>
                <a:gd name="connsiteX21" fmla="*/ 2226162 w 2714189"/>
                <a:gd name="connsiteY21" fmla="*/ 1390970 h 1457354"/>
                <a:gd name="connsiteX22" fmla="*/ 2179671 w 2714189"/>
                <a:gd name="connsiteY22" fmla="*/ 1421201 h 1457354"/>
                <a:gd name="connsiteX23" fmla="*/ 2064395 w 2714189"/>
                <a:gd name="connsiteY23" fmla="*/ 1451941 h 1457354"/>
                <a:gd name="connsiteX24" fmla="*/ 1809851 w 2714189"/>
                <a:gd name="connsiteY24" fmla="*/ 1320543 h 1457354"/>
                <a:gd name="connsiteX25" fmla="*/ 1807226 w 2714189"/>
                <a:gd name="connsiteY25" fmla="*/ 1315857 h 1457354"/>
                <a:gd name="connsiteX26" fmla="*/ 1769070 w 2714189"/>
                <a:gd name="connsiteY26" fmla="*/ 1321378 h 1457354"/>
                <a:gd name="connsiteX27" fmla="*/ 1515157 w 2714189"/>
                <a:gd name="connsiteY27" fmla="*/ 1203819 h 1457354"/>
                <a:gd name="connsiteX28" fmla="*/ 1495357 w 2714189"/>
                <a:gd name="connsiteY28" fmla="*/ 1171712 h 1457354"/>
                <a:gd name="connsiteX29" fmla="*/ 1442290 w 2714189"/>
                <a:gd name="connsiteY29" fmla="*/ 1190485 h 1457354"/>
                <a:gd name="connsiteX30" fmla="*/ 1382275 w 2714189"/>
                <a:gd name="connsiteY30" fmla="*/ 1199169 h 1457354"/>
                <a:gd name="connsiteX31" fmla="*/ 1357095 w 2714189"/>
                <a:gd name="connsiteY31" fmla="*/ 1197842 h 1457354"/>
                <a:gd name="connsiteX32" fmla="*/ 1331914 w 2714189"/>
                <a:gd name="connsiteY32" fmla="*/ 1199169 h 1457354"/>
                <a:gd name="connsiteX33" fmla="*/ 1271899 w 2714189"/>
                <a:gd name="connsiteY33" fmla="*/ 1190485 h 1457354"/>
                <a:gd name="connsiteX34" fmla="*/ 1218832 w 2714189"/>
                <a:gd name="connsiteY34" fmla="*/ 1171712 h 1457354"/>
                <a:gd name="connsiteX35" fmla="*/ 1199032 w 2714189"/>
                <a:gd name="connsiteY35" fmla="*/ 1203819 h 1457354"/>
                <a:gd name="connsiteX36" fmla="*/ 945118 w 2714189"/>
                <a:gd name="connsiteY36" fmla="*/ 1321378 h 1457354"/>
                <a:gd name="connsiteX37" fmla="*/ 906963 w 2714189"/>
                <a:gd name="connsiteY37" fmla="*/ 1315857 h 1457354"/>
                <a:gd name="connsiteX38" fmla="*/ 904338 w 2714189"/>
                <a:gd name="connsiteY38" fmla="*/ 1320543 h 1457354"/>
                <a:gd name="connsiteX39" fmla="*/ 649794 w 2714189"/>
                <a:gd name="connsiteY39" fmla="*/ 1451941 h 1457354"/>
                <a:gd name="connsiteX40" fmla="*/ 534518 w 2714189"/>
                <a:gd name="connsiteY40" fmla="*/ 1421201 h 1457354"/>
                <a:gd name="connsiteX41" fmla="*/ 488027 w 2714189"/>
                <a:gd name="connsiteY41" fmla="*/ 1390970 h 1457354"/>
                <a:gd name="connsiteX42" fmla="*/ 455634 w 2714189"/>
                <a:gd name="connsiteY42" fmla="*/ 1414735 h 1457354"/>
                <a:gd name="connsiteX43" fmla="*/ 286114 w 2714189"/>
                <a:gd name="connsiteY43" fmla="*/ 1457031 h 1457354"/>
                <a:gd name="connsiteX44" fmla="*/ 301 w 2714189"/>
                <a:gd name="connsiteY44" fmla="*/ 1151131 h 1457354"/>
                <a:gd name="connsiteX45" fmla="*/ 312747 w 2714189"/>
                <a:gd name="connsiteY45" fmla="*/ 872488 h 1457354"/>
                <a:gd name="connsiteX46" fmla="*/ 312924 w 2714189"/>
                <a:gd name="connsiteY46" fmla="*/ 872514 h 1457354"/>
                <a:gd name="connsiteX47" fmla="*/ 298104 w 2714189"/>
                <a:gd name="connsiteY47" fmla="*/ 853739 h 1457354"/>
                <a:gd name="connsiteX48" fmla="*/ 413958 w 2714189"/>
                <a:gd name="connsiteY48" fmla="*/ 524185 h 1457354"/>
                <a:gd name="connsiteX49" fmla="*/ 656094 w 2714189"/>
                <a:gd name="connsiteY49" fmla="*/ 491353 h 1457354"/>
                <a:gd name="connsiteX50" fmla="*/ 661724 w 2714189"/>
                <a:gd name="connsiteY50" fmla="*/ 494004 h 1457354"/>
                <a:gd name="connsiteX51" fmla="*/ 653203 w 2714189"/>
                <a:gd name="connsiteY51" fmla="*/ 459247 h 1457354"/>
                <a:gd name="connsiteX52" fmla="*/ 843233 w 2714189"/>
                <a:gd name="connsiteY52" fmla="*/ 181289 h 1457354"/>
                <a:gd name="connsiteX53" fmla="*/ 1054131 w 2714189"/>
                <a:gd name="connsiteY53" fmla="*/ 178832 h 1457354"/>
                <a:gd name="connsiteX54" fmla="*/ 1059168 w 2714189"/>
                <a:gd name="connsiteY54" fmla="*/ 181288 h 1457354"/>
                <a:gd name="connsiteX55" fmla="*/ 1059754 w 2714189"/>
                <a:gd name="connsiteY55" fmla="*/ 176862 h 1457354"/>
                <a:gd name="connsiteX56" fmla="*/ 1245038 w 2714189"/>
                <a:gd name="connsiteY56" fmla="*/ 13441 h 1457354"/>
                <a:gd name="connsiteX57" fmla="*/ 1308319 w 2714189"/>
                <a:gd name="connsiteY57" fmla="*/ 4952 h 1457354"/>
                <a:gd name="connsiteX58" fmla="*/ 1310232 w 2714189"/>
                <a:gd name="connsiteY58" fmla="*/ 4500 h 1457354"/>
                <a:gd name="connsiteX59" fmla="*/ 1313619 w 2714189"/>
                <a:gd name="connsiteY59" fmla="*/ 4241 h 145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714189" h="1457354">
                  <a:moveTo>
                    <a:pt x="1345230" y="0"/>
                  </a:moveTo>
                  <a:lnTo>
                    <a:pt x="1357095" y="909"/>
                  </a:lnTo>
                  <a:lnTo>
                    <a:pt x="1368959" y="0"/>
                  </a:lnTo>
                  <a:lnTo>
                    <a:pt x="1400570" y="4241"/>
                  </a:lnTo>
                  <a:lnTo>
                    <a:pt x="1403957" y="4500"/>
                  </a:lnTo>
                  <a:lnTo>
                    <a:pt x="1405870" y="4952"/>
                  </a:lnTo>
                  <a:lnTo>
                    <a:pt x="1469151" y="13441"/>
                  </a:lnTo>
                  <a:cubicBezTo>
                    <a:pt x="1562875" y="39527"/>
                    <a:pt x="1634056" y="101161"/>
                    <a:pt x="1654435" y="176862"/>
                  </a:cubicBezTo>
                  <a:lnTo>
                    <a:pt x="1655021" y="181288"/>
                  </a:lnTo>
                  <a:lnTo>
                    <a:pt x="1660058" y="178832"/>
                  </a:lnTo>
                  <a:cubicBezTo>
                    <a:pt x="1723025" y="155293"/>
                    <a:pt x="1798299" y="154252"/>
                    <a:pt x="1870956" y="181289"/>
                  </a:cubicBezTo>
                  <a:cubicBezTo>
                    <a:pt x="1998106" y="228604"/>
                    <a:pt x="2075110" y="346229"/>
                    <a:pt x="2060986" y="459247"/>
                  </a:cubicBezTo>
                  <a:lnTo>
                    <a:pt x="2052465" y="494004"/>
                  </a:lnTo>
                  <a:lnTo>
                    <a:pt x="2058094" y="491353"/>
                  </a:lnTo>
                  <a:cubicBezTo>
                    <a:pt x="2130173" y="466201"/>
                    <a:pt x="2220543" y="475774"/>
                    <a:pt x="2300231" y="524185"/>
                  </a:cubicBezTo>
                  <a:cubicBezTo>
                    <a:pt x="2427731" y="601641"/>
                    <a:pt x="2479600" y="749188"/>
                    <a:pt x="2416086" y="853739"/>
                  </a:cubicBezTo>
                  <a:lnTo>
                    <a:pt x="2401265" y="872514"/>
                  </a:lnTo>
                  <a:lnTo>
                    <a:pt x="2401442" y="872488"/>
                  </a:lnTo>
                  <a:cubicBezTo>
                    <a:pt x="2566647" y="864961"/>
                    <a:pt x="2706533" y="989714"/>
                    <a:pt x="2713888" y="1151131"/>
                  </a:cubicBezTo>
                  <a:cubicBezTo>
                    <a:pt x="2721242" y="1312548"/>
                    <a:pt x="2593279" y="1449504"/>
                    <a:pt x="2428074" y="1457031"/>
                  </a:cubicBezTo>
                  <a:cubicBezTo>
                    <a:pt x="2366123" y="1459853"/>
                    <a:pt x="2307732" y="1444074"/>
                    <a:pt x="2258555" y="1414735"/>
                  </a:cubicBezTo>
                  <a:lnTo>
                    <a:pt x="2226162" y="1390970"/>
                  </a:lnTo>
                  <a:lnTo>
                    <a:pt x="2179671" y="1421201"/>
                  </a:lnTo>
                  <a:cubicBezTo>
                    <a:pt x="2144630" y="1439210"/>
                    <a:pt x="2105696" y="1450059"/>
                    <a:pt x="2064395" y="1451941"/>
                  </a:cubicBezTo>
                  <a:cubicBezTo>
                    <a:pt x="1961143" y="1456645"/>
                    <a:pt x="1867529" y="1404188"/>
                    <a:pt x="1809851" y="1320543"/>
                  </a:cubicBezTo>
                  <a:lnTo>
                    <a:pt x="1807226" y="1315857"/>
                  </a:lnTo>
                  <a:lnTo>
                    <a:pt x="1769070" y="1321378"/>
                  </a:lnTo>
                  <a:cubicBezTo>
                    <a:pt x="1665818" y="1326083"/>
                    <a:pt x="1572455" y="1279115"/>
                    <a:pt x="1515157" y="1203819"/>
                  </a:cubicBezTo>
                  <a:lnTo>
                    <a:pt x="1495357" y="1171712"/>
                  </a:lnTo>
                  <a:lnTo>
                    <a:pt x="1442290" y="1190485"/>
                  </a:lnTo>
                  <a:cubicBezTo>
                    <a:pt x="1422994" y="1195265"/>
                    <a:pt x="1402926" y="1198228"/>
                    <a:pt x="1382275" y="1199169"/>
                  </a:cubicBezTo>
                  <a:lnTo>
                    <a:pt x="1357095" y="1197842"/>
                  </a:lnTo>
                  <a:lnTo>
                    <a:pt x="1331914" y="1199169"/>
                  </a:lnTo>
                  <a:cubicBezTo>
                    <a:pt x="1311263" y="1198228"/>
                    <a:pt x="1291195" y="1195265"/>
                    <a:pt x="1271899" y="1190485"/>
                  </a:cubicBezTo>
                  <a:lnTo>
                    <a:pt x="1218832" y="1171712"/>
                  </a:lnTo>
                  <a:lnTo>
                    <a:pt x="1199032" y="1203819"/>
                  </a:lnTo>
                  <a:cubicBezTo>
                    <a:pt x="1141734" y="1279115"/>
                    <a:pt x="1048371" y="1326083"/>
                    <a:pt x="945118" y="1321378"/>
                  </a:cubicBezTo>
                  <a:lnTo>
                    <a:pt x="906963" y="1315857"/>
                  </a:lnTo>
                  <a:lnTo>
                    <a:pt x="904338" y="1320543"/>
                  </a:lnTo>
                  <a:cubicBezTo>
                    <a:pt x="846660" y="1404188"/>
                    <a:pt x="753046" y="1456645"/>
                    <a:pt x="649794" y="1451941"/>
                  </a:cubicBezTo>
                  <a:cubicBezTo>
                    <a:pt x="608493" y="1450059"/>
                    <a:pt x="569559" y="1439210"/>
                    <a:pt x="534518" y="1421201"/>
                  </a:cubicBezTo>
                  <a:lnTo>
                    <a:pt x="488027" y="1390970"/>
                  </a:lnTo>
                  <a:lnTo>
                    <a:pt x="455634" y="1414735"/>
                  </a:lnTo>
                  <a:cubicBezTo>
                    <a:pt x="406457" y="1444074"/>
                    <a:pt x="348066" y="1459853"/>
                    <a:pt x="286114" y="1457031"/>
                  </a:cubicBezTo>
                  <a:cubicBezTo>
                    <a:pt x="120910" y="1449504"/>
                    <a:pt x="-7053" y="1312548"/>
                    <a:pt x="301" y="1151131"/>
                  </a:cubicBezTo>
                  <a:cubicBezTo>
                    <a:pt x="7656" y="989714"/>
                    <a:pt x="147542" y="864961"/>
                    <a:pt x="312747" y="872488"/>
                  </a:cubicBezTo>
                  <a:lnTo>
                    <a:pt x="312924" y="872514"/>
                  </a:lnTo>
                  <a:lnTo>
                    <a:pt x="298104" y="853739"/>
                  </a:lnTo>
                  <a:cubicBezTo>
                    <a:pt x="234588" y="749188"/>
                    <a:pt x="286458" y="601641"/>
                    <a:pt x="413958" y="524185"/>
                  </a:cubicBezTo>
                  <a:cubicBezTo>
                    <a:pt x="493646" y="475774"/>
                    <a:pt x="584016" y="466201"/>
                    <a:pt x="656094" y="491353"/>
                  </a:cubicBezTo>
                  <a:lnTo>
                    <a:pt x="661724" y="494004"/>
                  </a:lnTo>
                  <a:lnTo>
                    <a:pt x="653203" y="459247"/>
                  </a:lnTo>
                  <a:cubicBezTo>
                    <a:pt x="639079" y="346229"/>
                    <a:pt x="716083" y="228604"/>
                    <a:pt x="843233" y="181289"/>
                  </a:cubicBezTo>
                  <a:cubicBezTo>
                    <a:pt x="915890" y="154252"/>
                    <a:pt x="991164" y="155293"/>
                    <a:pt x="1054131" y="178832"/>
                  </a:cubicBezTo>
                  <a:lnTo>
                    <a:pt x="1059168" y="181288"/>
                  </a:lnTo>
                  <a:lnTo>
                    <a:pt x="1059754" y="176862"/>
                  </a:lnTo>
                  <a:cubicBezTo>
                    <a:pt x="1080133" y="101161"/>
                    <a:pt x="1151314" y="39527"/>
                    <a:pt x="1245038" y="13441"/>
                  </a:cubicBezTo>
                  <a:lnTo>
                    <a:pt x="1308319" y="4952"/>
                  </a:lnTo>
                  <a:lnTo>
                    <a:pt x="1310232" y="4500"/>
                  </a:lnTo>
                  <a:lnTo>
                    <a:pt x="1313619" y="424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C5B260-F9C1-13A4-EA03-90D3B9DE0B89}"/>
                </a:ext>
              </a:extLst>
            </p:cNvPr>
            <p:cNvSpPr/>
            <p:nvPr/>
          </p:nvSpPr>
          <p:spPr>
            <a:xfrm>
              <a:off x="10733693" y="4094414"/>
              <a:ext cx="841110" cy="1416176"/>
            </a:xfrm>
            <a:custGeom>
              <a:avLst/>
              <a:gdLst>
                <a:gd name="connsiteX0" fmla="*/ 335852 w 841110"/>
                <a:gd name="connsiteY0" fmla="*/ 0 h 1416176"/>
                <a:gd name="connsiteX1" fmla="*/ 420555 w 841110"/>
                <a:gd name="connsiteY1" fmla="*/ 19126 h 1416176"/>
                <a:gd name="connsiteX2" fmla="*/ 505258 w 841110"/>
                <a:gd name="connsiteY2" fmla="*/ 0 h 1416176"/>
                <a:gd name="connsiteX3" fmla="*/ 541642 w 841110"/>
                <a:gd name="connsiteY3" fmla="*/ 39183 h 1416176"/>
                <a:gd name="connsiteX4" fmla="*/ 547240 w 841110"/>
                <a:gd name="connsiteY4" fmla="*/ 251889 h 1416176"/>
                <a:gd name="connsiteX5" fmla="*/ 656391 w 841110"/>
                <a:gd name="connsiteY5" fmla="*/ 302267 h 1416176"/>
                <a:gd name="connsiteX6" fmla="*/ 790732 w 841110"/>
                <a:gd name="connsiteY6" fmla="*/ 128744 h 1416176"/>
                <a:gd name="connsiteX7" fmla="*/ 841110 w 841110"/>
                <a:gd name="connsiteY7" fmla="*/ 173524 h 1416176"/>
                <a:gd name="connsiteX8" fmla="*/ 550038 w 841110"/>
                <a:gd name="connsiteY8" fmla="*/ 733277 h 1416176"/>
                <a:gd name="connsiteX9" fmla="*/ 541642 w 841110"/>
                <a:gd name="connsiteY9" fmla="*/ 1018751 h 1416176"/>
                <a:gd name="connsiteX10" fmla="*/ 547240 w 841110"/>
                <a:gd name="connsiteY10" fmla="*/ 1343408 h 1416176"/>
                <a:gd name="connsiteX11" fmla="*/ 572428 w 841110"/>
                <a:gd name="connsiteY11" fmla="*/ 1410579 h 1416176"/>
                <a:gd name="connsiteX12" fmla="*/ 431006 w 841110"/>
                <a:gd name="connsiteY12" fmla="*/ 1415455 h 1416176"/>
                <a:gd name="connsiteX13" fmla="*/ 431010 w 841110"/>
                <a:gd name="connsiteY13" fmla="*/ 1416176 h 1416176"/>
                <a:gd name="connsiteX14" fmla="*/ 420555 w 841110"/>
                <a:gd name="connsiteY14" fmla="*/ 1415816 h 1416176"/>
                <a:gd name="connsiteX15" fmla="*/ 410100 w 841110"/>
                <a:gd name="connsiteY15" fmla="*/ 1416176 h 1416176"/>
                <a:gd name="connsiteX16" fmla="*/ 410104 w 841110"/>
                <a:gd name="connsiteY16" fmla="*/ 1415455 h 1416176"/>
                <a:gd name="connsiteX17" fmla="*/ 268682 w 841110"/>
                <a:gd name="connsiteY17" fmla="*/ 1410579 h 1416176"/>
                <a:gd name="connsiteX18" fmla="*/ 293870 w 841110"/>
                <a:gd name="connsiteY18" fmla="*/ 1343408 h 1416176"/>
                <a:gd name="connsiteX19" fmla="*/ 299468 w 841110"/>
                <a:gd name="connsiteY19" fmla="*/ 1018751 h 1416176"/>
                <a:gd name="connsiteX20" fmla="*/ 291072 w 841110"/>
                <a:gd name="connsiteY20" fmla="*/ 733277 h 1416176"/>
                <a:gd name="connsiteX21" fmla="*/ 0 w 841110"/>
                <a:gd name="connsiteY21" fmla="*/ 173524 h 1416176"/>
                <a:gd name="connsiteX22" fmla="*/ 50378 w 841110"/>
                <a:gd name="connsiteY22" fmla="*/ 128744 h 1416176"/>
                <a:gd name="connsiteX23" fmla="*/ 184719 w 841110"/>
                <a:gd name="connsiteY23" fmla="*/ 302267 h 1416176"/>
                <a:gd name="connsiteX24" fmla="*/ 293870 w 841110"/>
                <a:gd name="connsiteY24" fmla="*/ 251889 h 1416176"/>
                <a:gd name="connsiteX25" fmla="*/ 299468 w 841110"/>
                <a:gd name="connsiteY25" fmla="*/ 39183 h 1416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41110" h="1416176">
                  <a:moveTo>
                    <a:pt x="335852" y="0"/>
                  </a:moveTo>
                  <a:lnTo>
                    <a:pt x="420555" y="19126"/>
                  </a:lnTo>
                  <a:lnTo>
                    <a:pt x="505258" y="0"/>
                  </a:lnTo>
                  <a:lnTo>
                    <a:pt x="541642" y="39183"/>
                  </a:lnTo>
                  <a:cubicBezTo>
                    <a:pt x="542575" y="109152"/>
                    <a:pt x="546307" y="181920"/>
                    <a:pt x="547240" y="251889"/>
                  </a:cubicBezTo>
                  <a:cubicBezTo>
                    <a:pt x="600416" y="327456"/>
                    <a:pt x="620007" y="285474"/>
                    <a:pt x="656391" y="302267"/>
                  </a:cubicBezTo>
                  <a:lnTo>
                    <a:pt x="790732" y="128744"/>
                  </a:lnTo>
                  <a:lnTo>
                    <a:pt x="841110" y="173524"/>
                  </a:lnTo>
                  <a:cubicBezTo>
                    <a:pt x="744086" y="360108"/>
                    <a:pt x="624672" y="535497"/>
                    <a:pt x="550038" y="733277"/>
                  </a:cubicBezTo>
                  <a:cubicBezTo>
                    <a:pt x="530447" y="848027"/>
                    <a:pt x="544441" y="923593"/>
                    <a:pt x="541642" y="1018751"/>
                  </a:cubicBezTo>
                  <a:lnTo>
                    <a:pt x="547240" y="1343408"/>
                  </a:lnTo>
                  <a:lnTo>
                    <a:pt x="572428" y="1410579"/>
                  </a:lnTo>
                  <a:lnTo>
                    <a:pt x="431006" y="1415455"/>
                  </a:lnTo>
                  <a:lnTo>
                    <a:pt x="431010" y="1416176"/>
                  </a:lnTo>
                  <a:lnTo>
                    <a:pt x="420555" y="1415816"/>
                  </a:lnTo>
                  <a:lnTo>
                    <a:pt x="410100" y="1416176"/>
                  </a:lnTo>
                  <a:lnTo>
                    <a:pt x="410104" y="1415455"/>
                  </a:lnTo>
                  <a:lnTo>
                    <a:pt x="268682" y="1410579"/>
                  </a:lnTo>
                  <a:lnTo>
                    <a:pt x="293870" y="1343408"/>
                  </a:lnTo>
                  <a:lnTo>
                    <a:pt x="299468" y="1018751"/>
                  </a:lnTo>
                  <a:cubicBezTo>
                    <a:pt x="296669" y="923593"/>
                    <a:pt x="310663" y="848027"/>
                    <a:pt x="291072" y="733277"/>
                  </a:cubicBezTo>
                  <a:cubicBezTo>
                    <a:pt x="216438" y="535497"/>
                    <a:pt x="97024" y="360108"/>
                    <a:pt x="0" y="173524"/>
                  </a:cubicBezTo>
                  <a:lnTo>
                    <a:pt x="50378" y="128744"/>
                  </a:lnTo>
                  <a:lnTo>
                    <a:pt x="184719" y="302267"/>
                  </a:lnTo>
                  <a:cubicBezTo>
                    <a:pt x="221103" y="285474"/>
                    <a:pt x="240694" y="327456"/>
                    <a:pt x="293870" y="251889"/>
                  </a:cubicBezTo>
                  <a:cubicBezTo>
                    <a:pt x="294803" y="181920"/>
                    <a:pt x="298535" y="109152"/>
                    <a:pt x="299468" y="39183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7266695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17EF22D-AEBB-BD7C-3EC1-E5F0DCE33DC7}"/>
              </a:ext>
            </a:extLst>
          </p:cNvPr>
          <p:cNvGrpSpPr/>
          <p:nvPr/>
        </p:nvGrpSpPr>
        <p:grpSpPr>
          <a:xfrm>
            <a:off x="5263362" y="1711236"/>
            <a:ext cx="1665277" cy="3435528"/>
            <a:chOff x="4147296" y="1711236"/>
            <a:chExt cx="1665277" cy="3435528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52C06BBA-A6DC-EE0C-75DE-497C5C71110E}"/>
                </a:ext>
              </a:extLst>
            </p:cNvPr>
            <p:cNvSpPr/>
            <p:nvPr/>
          </p:nvSpPr>
          <p:spPr>
            <a:xfrm>
              <a:off x="4223385" y="1767840"/>
              <a:ext cx="1510665" cy="3331845"/>
            </a:xfrm>
            <a:prstGeom prst="roundRect">
              <a:avLst>
                <a:gd name="adj" fmla="val 847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032" name="Picture 8" descr="Samsung Galaxy S24 Ultra Front View Transparent 41329784 PNG">
              <a:extLst>
                <a:ext uri="{FF2B5EF4-FFF2-40B4-BE49-F238E27FC236}">
                  <a16:creationId xmlns:a16="http://schemas.microsoft.com/office/drawing/2014/main" id="{7C59B807-98D3-3D43-4DE6-EB84C87CC2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611" t="10000" r="30611" b="10000"/>
            <a:stretch/>
          </p:blipFill>
          <p:spPr bwMode="auto">
            <a:xfrm>
              <a:off x="4147296" y="1711236"/>
              <a:ext cx="1665277" cy="34355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1AF80CD3-0952-147E-41FC-BDB5170A3440}"/>
              </a:ext>
            </a:extLst>
          </p:cNvPr>
          <p:cNvGrpSpPr/>
          <p:nvPr/>
        </p:nvGrpSpPr>
        <p:grpSpPr>
          <a:xfrm>
            <a:off x="5340705" y="2346276"/>
            <a:ext cx="1510590" cy="2165448"/>
            <a:chOff x="6380646" y="2204721"/>
            <a:chExt cx="1825368" cy="2616687"/>
          </a:xfrm>
        </p:grpSpPr>
        <p:sp>
          <p:nvSpPr>
            <p:cNvPr id="1037" name="TextBox 1036">
              <a:extLst>
                <a:ext uri="{FF2B5EF4-FFF2-40B4-BE49-F238E27FC236}">
                  <a16:creationId xmlns:a16="http://schemas.microsoft.com/office/drawing/2014/main" id="{04B210D5-3D67-0DF3-8C15-CBEC7548E9D3}"/>
                </a:ext>
              </a:extLst>
            </p:cNvPr>
            <p:cNvSpPr txBox="1"/>
            <p:nvPr/>
          </p:nvSpPr>
          <p:spPr>
            <a:xfrm>
              <a:off x="6688035" y="2204721"/>
              <a:ext cx="121058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400" b="1" dirty="0">
                  <a:latin typeface="+mj-lt"/>
                </a:rPr>
                <a:t>Cockpit</a:t>
              </a:r>
            </a:p>
          </p:txBody>
        </p:sp>
        <p:grpSp>
          <p:nvGrpSpPr>
            <p:cNvPr id="1038" name="Group 1037">
              <a:extLst>
                <a:ext uri="{FF2B5EF4-FFF2-40B4-BE49-F238E27FC236}">
                  <a16:creationId xmlns:a16="http://schemas.microsoft.com/office/drawing/2014/main" id="{93697D0E-2377-587F-2862-ECDA9119A50B}"/>
                </a:ext>
              </a:extLst>
            </p:cNvPr>
            <p:cNvGrpSpPr/>
            <p:nvPr/>
          </p:nvGrpSpPr>
          <p:grpSpPr>
            <a:xfrm>
              <a:off x="6939540" y="2846199"/>
              <a:ext cx="710401" cy="710401"/>
              <a:chOff x="5547360" y="2880360"/>
              <a:chExt cx="1097280" cy="1097280"/>
            </a:xfrm>
          </p:grpSpPr>
          <p:sp>
            <p:nvSpPr>
              <p:cNvPr id="1040" name="Rectangle: Rounded Corners 1039">
                <a:extLst>
                  <a:ext uri="{FF2B5EF4-FFF2-40B4-BE49-F238E27FC236}">
                    <a16:creationId xmlns:a16="http://schemas.microsoft.com/office/drawing/2014/main" id="{9F7D231F-2678-A18E-10BC-A556DE7ACFD4}"/>
                  </a:ext>
                </a:extLst>
              </p:cNvPr>
              <p:cNvSpPr/>
              <p:nvPr/>
            </p:nvSpPr>
            <p:spPr>
              <a:xfrm>
                <a:off x="5547360" y="2880360"/>
                <a:ext cx="1097280" cy="109728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600"/>
              </a:p>
            </p:txBody>
          </p:sp>
          <p:grpSp>
            <p:nvGrpSpPr>
              <p:cNvPr id="1041" name="Groupe 34">
                <a:extLst>
                  <a:ext uri="{FF2B5EF4-FFF2-40B4-BE49-F238E27FC236}">
                    <a16:creationId xmlns:a16="http://schemas.microsoft.com/office/drawing/2014/main" id="{D9D25238-B9FD-DF43-F98C-2164CB06EE58}"/>
                  </a:ext>
                </a:extLst>
              </p:cNvPr>
              <p:cNvGrpSpPr/>
              <p:nvPr/>
            </p:nvGrpSpPr>
            <p:grpSpPr>
              <a:xfrm>
                <a:off x="5661660" y="2994660"/>
                <a:ext cx="868680" cy="868680"/>
                <a:chOff x="5016000" y="705668"/>
                <a:chExt cx="2160000" cy="2160000"/>
              </a:xfrm>
            </p:grpSpPr>
            <p:sp>
              <p:nvSpPr>
                <p:cNvPr id="1042" name="Ellipse 19">
                  <a:extLst>
                    <a:ext uri="{FF2B5EF4-FFF2-40B4-BE49-F238E27FC236}">
                      <a16:creationId xmlns:a16="http://schemas.microsoft.com/office/drawing/2014/main" id="{B6F32446-6083-338F-0C06-AE528DCE7637}"/>
                    </a:ext>
                  </a:extLst>
                </p:cNvPr>
                <p:cNvSpPr/>
                <p:nvPr/>
              </p:nvSpPr>
              <p:spPr>
                <a:xfrm>
                  <a:off x="5948534" y="1638202"/>
                  <a:ext cx="294932" cy="294932"/>
                </a:xfrm>
                <a:prstGeom prst="ellipse">
                  <a:avLst/>
                </a:prstGeom>
                <a:solidFill>
                  <a:srgbClr val="B5E4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fr-FR" sz="1600"/>
                </a:p>
              </p:txBody>
            </p:sp>
            <p:grpSp>
              <p:nvGrpSpPr>
                <p:cNvPr id="1043" name="Groupe 20">
                  <a:extLst>
                    <a:ext uri="{FF2B5EF4-FFF2-40B4-BE49-F238E27FC236}">
                      <a16:creationId xmlns:a16="http://schemas.microsoft.com/office/drawing/2014/main" id="{6B648613-9C89-8A47-29BD-9C7259375329}"/>
                    </a:ext>
                  </a:extLst>
                </p:cNvPr>
                <p:cNvGrpSpPr/>
                <p:nvPr/>
              </p:nvGrpSpPr>
              <p:grpSpPr>
                <a:xfrm>
                  <a:off x="5016000" y="705668"/>
                  <a:ext cx="2160000" cy="2160000"/>
                  <a:chOff x="5016000" y="705668"/>
                  <a:chExt cx="2160000" cy="2160000"/>
                </a:xfrm>
              </p:grpSpPr>
              <p:grpSp>
                <p:nvGrpSpPr>
                  <p:cNvPr id="1050" name="Groupe 21">
                    <a:extLst>
                      <a:ext uri="{FF2B5EF4-FFF2-40B4-BE49-F238E27FC236}">
                        <a16:creationId xmlns:a16="http://schemas.microsoft.com/office/drawing/2014/main" id="{CD84CD7D-830A-E6EA-E52E-10A4B78A7DCD}"/>
                      </a:ext>
                    </a:extLst>
                  </p:cNvPr>
                  <p:cNvGrpSpPr/>
                  <p:nvPr/>
                </p:nvGrpSpPr>
                <p:grpSpPr>
                  <a:xfrm>
                    <a:off x="5016000" y="705668"/>
                    <a:ext cx="2160000" cy="2160000"/>
                    <a:chOff x="98437" y="4131142"/>
                    <a:chExt cx="2160000" cy="2160000"/>
                  </a:xfrm>
                </p:grpSpPr>
                <p:sp>
                  <p:nvSpPr>
                    <p:cNvPr id="1055" name="Forme libre : forme 26">
                      <a:extLst>
                        <a:ext uri="{FF2B5EF4-FFF2-40B4-BE49-F238E27FC236}">
                          <a16:creationId xmlns:a16="http://schemas.microsoft.com/office/drawing/2014/main" id="{BF20C285-5773-F2DD-546D-4EAAA9C2DB0B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98437" y="4131142"/>
                      <a:ext cx="2160000" cy="1080000"/>
                    </a:xfrm>
                    <a:custGeom>
                      <a:avLst/>
                      <a:gdLst>
                        <a:gd name="connsiteX0" fmla="*/ 0 w 2160000"/>
                        <a:gd name="connsiteY0" fmla="*/ 0 h 1080000"/>
                        <a:gd name="connsiteX1" fmla="*/ 2160000 w 2160000"/>
                        <a:gd name="connsiteY1" fmla="*/ 0 h 1080000"/>
                        <a:gd name="connsiteX2" fmla="*/ 1080000 w 2160000"/>
                        <a:gd name="connsiteY2" fmla="*/ 1080000 h 1080000"/>
                        <a:gd name="connsiteX3" fmla="*/ 0 w 2160000"/>
                        <a:gd name="connsiteY3" fmla="*/ 0 h 1080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160000" h="1080000">
                          <a:moveTo>
                            <a:pt x="0" y="0"/>
                          </a:moveTo>
                          <a:lnTo>
                            <a:pt x="2160000" y="0"/>
                          </a:lnTo>
                          <a:cubicBezTo>
                            <a:pt x="2160000" y="596468"/>
                            <a:pt x="1676468" y="1080000"/>
                            <a:pt x="1080000" y="1080000"/>
                          </a:cubicBezTo>
                          <a:cubicBezTo>
                            <a:pt x="483532" y="1080000"/>
                            <a:pt x="0" y="596468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B5E4F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fr-FR" sz="1600"/>
                    </a:p>
                  </p:txBody>
                </p:sp>
                <p:sp>
                  <p:nvSpPr>
                    <p:cNvPr id="1056" name="Forme libre : forme 27">
                      <a:extLst>
                        <a:ext uri="{FF2B5EF4-FFF2-40B4-BE49-F238E27FC236}">
                          <a16:creationId xmlns:a16="http://schemas.microsoft.com/office/drawing/2014/main" id="{3FCF3672-B0FE-E443-D943-761C1149338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8437" y="5211142"/>
                      <a:ext cx="2160000" cy="1080000"/>
                    </a:xfrm>
                    <a:custGeom>
                      <a:avLst/>
                      <a:gdLst>
                        <a:gd name="connsiteX0" fmla="*/ 0 w 2160000"/>
                        <a:gd name="connsiteY0" fmla="*/ 0 h 1080000"/>
                        <a:gd name="connsiteX1" fmla="*/ 2160000 w 2160000"/>
                        <a:gd name="connsiteY1" fmla="*/ 0 h 1080000"/>
                        <a:gd name="connsiteX2" fmla="*/ 1080000 w 2160000"/>
                        <a:gd name="connsiteY2" fmla="*/ 1080000 h 1080000"/>
                        <a:gd name="connsiteX3" fmla="*/ 0 w 2160000"/>
                        <a:gd name="connsiteY3" fmla="*/ 0 h 1080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160000" h="1080000">
                          <a:moveTo>
                            <a:pt x="0" y="0"/>
                          </a:moveTo>
                          <a:lnTo>
                            <a:pt x="2160000" y="0"/>
                          </a:lnTo>
                          <a:cubicBezTo>
                            <a:pt x="2160000" y="596468"/>
                            <a:pt x="1676468" y="1080000"/>
                            <a:pt x="1080000" y="1080000"/>
                          </a:cubicBezTo>
                          <a:cubicBezTo>
                            <a:pt x="483532" y="1080000"/>
                            <a:pt x="0" y="596468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CB5B1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fr-FR" sz="1600"/>
                    </a:p>
                  </p:txBody>
                </p:sp>
              </p:grpSp>
              <p:sp>
                <p:nvSpPr>
                  <p:cNvPr id="1051" name="Rectangle 1050">
                    <a:extLst>
                      <a:ext uri="{FF2B5EF4-FFF2-40B4-BE49-F238E27FC236}">
                        <a16:creationId xmlns:a16="http://schemas.microsoft.com/office/drawing/2014/main" id="{ADAFF57D-A42B-F595-D2BF-FA74ED135DD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012821" y="1901565"/>
                    <a:ext cx="166357" cy="395852"/>
                  </a:xfrm>
                  <a:prstGeom prst="rect">
                    <a:avLst/>
                  </a:prstGeom>
                  <a:solidFill>
                    <a:srgbClr val="B5E4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fr-FR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fr-FR" sz="1600"/>
                  </a:p>
                </p:txBody>
              </p:sp>
              <p:sp>
                <p:nvSpPr>
                  <p:cNvPr id="1052" name="Rectangle 1051">
                    <a:extLst>
                      <a:ext uri="{FF2B5EF4-FFF2-40B4-BE49-F238E27FC236}">
                        <a16:creationId xmlns:a16="http://schemas.microsoft.com/office/drawing/2014/main" id="{E4CA75BD-7BF2-C0FB-7CED-B6955CAEF11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012820" y="2215389"/>
                    <a:ext cx="166357" cy="395852"/>
                  </a:xfrm>
                  <a:prstGeom prst="rect">
                    <a:avLst/>
                  </a:prstGeom>
                  <a:solidFill>
                    <a:srgbClr val="B5E4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fr-FR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fr-FR" sz="1600"/>
                  </a:p>
                </p:txBody>
              </p:sp>
              <p:sp>
                <p:nvSpPr>
                  <p:cNvPr id="1053" name="Rectangle 1052">
                    <a:extLst>
                      <a:ext uri="{FF2B5EF4-FFF2-40B4-BE49-F238E27FC236}">
                        <a16:creationId xmlns:a16="http://schemas.microsoft.com/office/drawing/2014/main" id="{A393BAB7-BECC-8D90-D4A4-FAA8E200F4C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012818" y="1357096"/>
                    <a:ext cx="166357" cy="395852"/>
                  </a:xfrm>
                  <a:prstGeom prst="rect">
                    <a:avLst/>
                  </a:prstGeom>
                  <a:solidFill>
                    <a:srgbClr val="CB5B1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fr-FR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fr-FR" sz="1600"/>
                  </a:p>
                </p:txBody>
              </p:sp>
              <p:sp>
                <p:nvSpPr>
                  <p:cNvPr id="1054" name="Rectangle 1053">
                    <a:extLst>
                      <a:ext uri="{FF2B5EF4-FFF2-40B4-BE49-F238E27FC236}">
                        <a16:creationId xmlns:a16="http://schemas.microsoft.com/office/drawing/2014/main" id="{7A209987-6255-1CA2-DCF3-8898D8DBB2F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012818" y="1046303"/>
                    <a:ext cx="166357" cy="395852"/>
                  </a:xfrm>
                  <a:prstGeom prst="rect">
                    <a:avLst/>
                  </a:prstGeom>
                  <a:solidFill>
                    <a:srgbClr val="CB5B1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fr-FR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fr-FR" sz="1600"/>
                  </a:p>
                </p:txBody>
              </p:sp>
            </p:grpSp>
            <p:sp>
              <p:nvSpPr>
                <p:cNvPr id="1044" name="Forme libre : forme 28">
                  <a:extLst>
                    <a:ext uri="{FF2B5EF4-FFF2-40B4-BE49-F238E27FC236}">
                      <a16:creationId xmlns:a16="http://schemas.microsoft.com/office/drawing/2014/main" id="{4266E8EC-CF75-AA19-E121-6F4BE2F2D60C}"/>
                    </a:ext>
                  </a:extLst>
                </p:cNvPr>
                <p:cNvSpPr/>
                <p:nvPr/>
              </p:nvSpPr>
              <p:spPr>
                <a:xfrm>
                  <a:off x="5016000" y="705668"/>
                  <a:ext cx="2160000" cy="2160000"/>
                </a:xfrm>
                <a:custGeom>
                  <a:avLst/>
                  <a:gdLst>
                    <a:gd name="connsiteX0" fmla="*/ 1200150 w 2400300"/>
                    <a:gd name="connsiteY0" fmla="*/ 192405 h 2400300"/>
                    <a:gd name="connsiteX1" fmla="*/ 192405 w 2400300"/>
                    <a:gd name="connsiteY1" fmla="*/ 1200150 h 2400300"/>
                    <a:gd name="connsiteX2" fmla="*/ 1200150 w 2400300"/>
                    <a:gd name="connsiteY2" fmla="*/ 2207895 h 2400300"/>
                    <a:gd name="connsiteX3" fmla="*/ 2207895 w 2400300"/>
                    <a:gd name="connsiteY3" fmla="*/ 1200150 h 2400300"/>
                    <a:gd name="connsiteX4" fmla="*/ 1200150 w 2400300"/>
                    <a:gd name="connsiteY4" fmla="*/ 192405 h 2400300"/>
                    <a:gd name="connsiteX5" fmla="*/ 1200150 w 2400300"/>
                    <a:gd name="connsiteY5" fmla="*/ 0 h 2400300"/>
                    <a:gd name="connsiteX6" fmla="*/ 2400300 w 2400300"/>
                    <a:gd name="connsiteY6" fmla="*/ 1200150 h 2400300"/>
                    <a:gd name="connsiteX7" fmla="*/ 1200150 w 2400300"/>
                    <a:gd name="connsiteY7" fmla="*/ 2400300 h 2400300"/>
                    <a:gd name="connsiteX8" fmla="*/ 0 w 2400300"/>
                    <a:gd name="connsiteY8" fmla="*/ 1200150 h 2400300"/>
                    <a:gd name="connsiteX9" fmla="*/ 1200150 w 2400300"/>
                    <a:gd name="connsiteY9" fmla="*/ 0 h 2400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00300" h="2400300">
                      <a:moveTo>
                        <a:pt x="1200150" y="192405"/>
                      </a:moveTo>
                      <a:cubicBezTo>
                        <a:pt x="643588" y="192405"/>
                        <a:pt x="192405" y="643588"/>
                        <a:pt x="192405" y="1200150"/>
                      </a:cubicBezTo>
                      <a:cubicBezTo>
                        <a:pt x="192405" y="1756712"/>
                        <a:pt x="643588" y="2207895"/>
                        <a:pt x="1200150" y="2207895"/>
                      </a:cubicBezTo>
                      <a:cubicBezTo>
                        <a:pt x="1756712" y="2207895"/>
                        <a:pt x="2207895" y="1756712"/>
                        <a:pt x="2207895" y="1200150"/>
                      </a:cubicBezTo>
                      <a:cubicBezTo>
                        <a:pt x="2207895" y="643588"/>
                        <a:pt x="1756712" y="192405"/>
                        <a:pt x="1200150" y="192405"/>
                      </a:cubicBezTo>
                      <a:close/>
                      <a:moveTo>
                        <a:pt x="1200150" y="0"/>
                      </a:moveTo>
                      <a:cubicBezTo>
                        <a:pt x="1862975" y="0"/>
                        <a:pt x="2400300" y="537325"/>
                        <a:pt x="2400300" y="1200150"/>
                      </a:cubicBezTo>
                      <a:cubicBezTo>
                        <a:pt x="2400300" y="1862975"/>
                        <a:pt x="1862975" y="2400300"/>
                        <a:pt x="1200150" y="2400300"/>
                      </a:cubicBezTo>
                      <a:cubicBezTo>
                        <a:pt x="537325" y="2400300"/>
                        <a:pt x="0" y="1862975"/>
                        <a:pt x="0" y="1200150"/>
                      </a:cubicBezTo>
                      <a:cubicBezTo>
                        <a:pt x="0" y="537325"/>
                        <a:pt x="537325" y="0"/>
                        <a:pt x="1200150" y="0"/>
                      </a:cubicBezTo>
                      <a:close/>
                    </a:path>
                  </a:pathLst>
                </a:custGeom>
                <a:solidFill>
                  <a:srgbClr val="6C341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fr-FR" sz="1600"/>
                </a:p>
              </p:txBody>
            </p:sp>
            <p:sp>
              <p:nvSpPr>
                <p:cNvPr id="1045" name="Rectangle 1044">
                  <a:extLst>
                    <a:ext uri="{FF2B5EF4-FFF2-40B4-BE49-F238E27FC236}">
                      <a16:creationId xmlns:a16="http://schemas.microsoft.com/office/drawing/2014/main" id="{8E2BE8A4-AE81-DD48-D649-3E5556D88556}"/>
                    </a:ext>
                  </a:extLst>
                </p:cNvPr>
                <p:cNvSpPr/>
                <p:nvPr/>
              </p:nvSpPr>
              <p:spPr>
                <a:xfrm rot="5400000">
                  <a:off x="5087906" y="1638202"/>
                  <a:ext cx="209115" cy="294931"/>
                </a:xfrm>
                <a:prstGeom prst="rect">
                  <a:avLst/>
                </a:prstGeom>
                <a:solidFill>
                  <a:srgbClr val="6C341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fr-FR" sz="1600"/>
                </a:p>
              </p:txBody>
            </p:sp>
            <p:sp>
              <p:nvSpPr>
                <p:cNvPr id="1046" name="Rectangle 1045">
                  <a:extLst>
                    <a:ext uri="{FF2B5EF4-FFF2-40B4-BE49-F238E27FC236}">
                      <a16:creationId xmlns:a16="http://schemas.microsoft.com/office/drawing/2014/main" id="{28E9EC4B-68F6-408E-9EAB-29A1D2D0409C}"/>
                    </a:ext>
                  </a:extLst>
                </p:cNvPr>
                <p:cNvSpPr/>
                <p:nvPr/>
              </p:nvSpPr>
              <p:spPr>
                <a:xfrm rot="5400000">
                  <a:off x="6894979" y="1638202"/>
                  <a:ext cx="209115" cy="294931"/>
                </a:xfrm>
                <a:prstGeom prst="rect">
                  <a:avLst/>
                </a:prstGeom>
                <a:solidFill>
                  <a:srgbClr val="6C341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fr-FR" sz="1600"/>
                </a:p>
              </p:txBody>
            </p:sp>
            <p:sp>
              <p:nvSpPr>
                <p:cNvPr id="1047" name="Rectangle 1046">
                  <a:extLst>
                    <a:ext uri="{FF2B5EF4-FFF2-40B4-BE49-F238E27FC236}">
                      <a16:creationId xmlns:a16="http://schemas.microsoft.com/office/drawing/2014/main" id="{0F19DCCD-37DB-B2E5-4675-D14A0849496F}"/>
                    </a:ext>
                  </a:extLst>
                </p:cNvPr>
                <p:cNvSpPr/>
                <p:nvPr/>
              </p:nvSpPr>
              <p:spPr>
                <a:xfrm rot="18931144" flipV="1">
                  <a:off x="5398670" y="1041268"/>
                  <a:ext cx="181512" cy="239565"/>
                </a:xfrm>
                <a:prstGeom prst="rect">
                  <a:avLst/>
                </a:prstGeom>
                <a:solidFill>
                  <a:srgbClr val="6C341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fr-FR" sz="1600"/>
                </a:p>
              </p:txBody>
            </p:sp>
            <p:sp>
              <p:nvSpPr>
                <p:cNvPr id="1048" name="Rectangle 1047">
                  <a:extLst>
                    <a:ext uri="{FF2B5EF4-FFF2-40B4-BE49-F238E27FC236}">
                      <a16:creationId xmlns:a16="http://schemas.microsoft.com/office/drawing/2014/main" id="{180DF542-B58D-2E30-863E-42D2E762F677}"/>
                    </a:ext>
                  </a:extLst>
                </p:cNvPr>
                <p:cNvSpPr/>
                <p:nvPr/>
              </p:nvSpPr>
              <p:spPr>
                <a:xfrm rot="2668856">
                  <a:off x="6670343" y="1042939"/>
                  <a:ext cx="181512" cy="239565"/>
                </a:xfrm>
                <a:prstGeom prst="rect">
                  <a:avLst/>
                </a:prstGeom>
                <a:solidFill>
                  <a:srgbClr val="6C341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fr-FR" sz="1600"/>
                </a:p>
              </p:txBody>
            </p:sp>
            <p:sp>
              <p:nvSpPr>
                <p:cNvPr id="1049" name="Triangle isocèle 33">
                  <a:extLst>
                    <a:ext uri="{FF2B5EF4-FFF2-40B4-BE49-F238E27FC236}">
                      <a16:creationId xmlns:a16="http://schemas.microsoft.com/office/drawing/2014/main" id="{8CE4D851-2C56-6700-3910-76E3ECDCF101}"/>
                    </a:ext>
                  </a:extLst>
                </p:cNvPr>
                <p:cNvSpPr/>
                <p:nvPr/>
              </p:nvSpPr>
              <p:spPr>
                <a:xfrm flipV="1">
                  <a:off x="5862022" y="788845"/>
                  <a:ext cx="460434" cy="247533"/>
                </a:xfrm>
                <a:prstGeom prst="triangle">
                  <a:avLst/>
                </a:prstGeom>
                <a:solidFill>
                  <a:srgbClr val="6C341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fr-FR" sz="1600" dirty="0"/>
                </a:p>
              </p:txBody>
            </p:sp>
          </p:grpSp>
        </p:grpSp>
        <p:sp>
          <p:nvSpPr>
            <p:cNvPr id="1039" name="TextBox 1038">
              <a:extLst>
                <a:ext uri="{FF2B5EF4-FFF2-40B4-BE49-F238E27FC236}">
                  <a16:creationId xmlns:a16="http://schemas.microsoft.com/office/drawing/2014/main" id="{D6814296-8656-3E9C-525B-3862F5FD5A6D}"/>
                </a:ext>
              </a:extLst>
            </p:cNvPr>
            <p:cNvSpPr txBox="1"/>
            <p:nvPr/>
          </p:nvSpPr>
          <p:spPr>
            <a:xfrm>
              <a:off x="6380646" y="3710421"/>
              <a:ext cx="1825368" cy="1110987"/>
            </a:xfrm>
            <a:prstGeom prst="round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fr-FR" sz="1600" b="1" dirty="0">
                  <a:effectLst/>
                  <a:latin typeface="Aptos" panose="020B0004020202020204" pitchFamily="34" charset="0"/>
                  <a:ea typeface="DengXian" panose="02010600030101010101" pitchFamily="2" charset="-122"/>
                  <a:cs typeface="Times New Roman" panose="02020603050405020304" pitchFamily="18" charset="0"/>
                </a:rPr>
                <a:t>L’application qui </a:t>
              </a:r>
              <a:r>
                <a:rPr lang="fr-FR" sz="1600" b="1" dirty="0">
                  <a:solidFill>
                    <a:srgbClr val="0070C0"/>
                  </a:solidFill>
                  <a:effectLst/>
                  <a:latin typeface="Aptos" panose="020B0004020202020204" pitchFamily="34" charset="0"/>
                  <a:ea typeface="DengXian" panose="02010600030101010101" pitchFamily="2" charset="-122"/>
                  <a:cs typeface="Times New Roman" panose="02020603050405020304" pitchFamily="18" charset="0"/>
                </a:rPr>
                <a:t>réinvente</a:t>
              </a:r>
              <a:r>
                <a:rPr lang="fr-FR" sz="1600" b="1" dirty="0">
                  <a:effectLst/>
                  <a:latin typeface="Aptos" panose="020B0004020202020204" pitchFamily="34" charset="0"/>
                  <a:ea typeface="DengXian" panose="02010600030101010101" pitchFamily="2" charset="-122"/>
                  <a:cs typeface="Times New Roman" panose="02020603050405020304" pitchFamily="18" charset="0"/>
                </a:rPr>
                <a:t> le voyage.</a:t>
              </a:r>
              <a:endParaRPr lang="fr-FR" sz="1600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4B3374E-51EC-ED13-99CD-1A53DC03FDB6}"/>
              </a:ext>
            </a:extLst>
          </p:cNvPr>
          <p:cNvGrpSpPr/>
          <p:nvPr/>
        </p:nvGrpSpPr>
        <p:grpSpPr>
          <a:xfrm>
            <a:off x="4908331" y="1179298"/>
            <a:ext cx="2375338" cy="4499404"/>
            <a:chOff x="6220040" y="1700846"/>
            <a:chExt cx="1824664" cy="3456308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AA539F75-78A3-C486-7E9D-DFE0477F5AEA}"/>
                </a:ext>
              </a:extLst>
            </p:cNvPr>
            <p:cNvSpPr/>
            <p:nvPr/>
          </p:nvSpPr>
          <p:spPr>
            <a:xfrm>
              <a:off x="6303645" y="1754506"/>
              <a:ext cx="1663066" cy="3345180"/>
            </a:xfrm>
            <a:prstGeom prst="roundRect">
              <a:avLst>
                <a:gd name="adj" fmla="val 1368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6" name="Picture 5" descr="A black background with white spots&#10;&#10;AI-generated content may be incorrect.">
              <a:extLst>
                <a:ext uri="{FF2B5EF4-FFF2-40B4-BE49-F238E27FC236}">
                  <a16:creationId xmlns:a16="http://schemas.microsoft.com/office/drawing/2014/main" id="{3B33F8B4-55A4-DCD1-2D7A-DE727F365B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829" t="11792" r="29829" b="11792"/>
            <a:stretch/>
          </p:blipFill>
          <p:spPr>
            <a:xfrm>
              <a:off x="6220040" y="1700846"/>
              <a:ext cx="1824664" cy="3456308"/>
            </a:xfrm>
            <a:prstGeom prst="rect">
              <a:avLst/>
            </a:prstGeom>
          </p:spPr>
        </p:pic>
      </p:grpSp>
      <p:sp>
        <p:nvSpPr>
          <p:cNvPr id="1035" name="TextBox 1034">
            <a:extLst>
              <a:ext uri="{FF2B5EF4-FFF2-40B4-BE49-F238E27FC236}">
                <a16:creationId xmlns:a16="http://schemas.microsoft.com/office/drawing/2014/main" id="{A84A15C5-A420-B83E-5F6F-0B8CB62BA832}"/>
              </a:ext>
            </a:extLst>
          </p:cNvPr>
          <p:cNvSpPr txBox="1"/>
          <p:nvPr/>
        </p:nvSpPr>
        <p:spPr>
          <a:xfrm>
            <a:off x="5260335" y="4014321"/>
            <a:ext cx="1668304" cy="715089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 err="1">
                <a:effectLst/>
                <a:latin typeface="Aptos" panose="020B000402020202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When</a:t>
            </a:r>
            <a:r>
              <a:rPr lang="fr-FR" b="1" dirty="0">
                <a:effectLst/>
                <a:latin typeface="Aptos" panose="020B000402020202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 the city </a:t>
            </a:r>
            <a:r>
              <a:rPr lang="fr-FR" b="1" dirty="0" err="1">
                <a:solidFill>
                  <a:srgbClr val="116A1B"/>
                </a:solidFill>
                <a:effectLst/>
                <a:latin typeface="Aptos" panose="020B000402020202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breathes</a:t>
            </a:r>
            <a:endParaRPr lang="fr-FR" dirty="0">
              <a:solidFill>
                <a:srgbClr val="116A1B"/>
              </a:solidFill>
            </a:endParaRPr>
          </a:p>
        </p:txBody>
      </p:sp>
      <p:sp>
        <p:nvSpPr>
          <p:cNvPr id="28" name="Date Placeholder 27">
            <a:extLst>
              <a:ext uri="{FF2B5EF4-FFF2-40B4-BE49-F238E27FC236}">
                <a16:creationId xmlns:a16="http://schemas.microsoft.com/office/drawing/2014/main" id="{D9743C76-BF2D-ED16-A195-F9A0870717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37E30-0E8C-472C-A840-A3F08F6218BE}" type="datetime1">
              <a:rPr lang="fr-FR" smtClean="0"/>
              <a:t>17/05/2025</a:t>
            </a:fld>
            <a:endParaRPr lang="fr-FR"/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45569C43-DBBB-347C-EE26-337B297E0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C7453-68A9-4BFA-BA49-EC3B00AC633A}" type="slidenum">
              <a:rPr lang="fr-FR" smtClean="0"/>
              <a:t>14</a:t>
            </a:fld>
            <a:endParaRPr lang="fr-FR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F9F5B4D7-28A8-1D73-0EAC-467408BF60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58" t="39783" r="10494" b="40297"/>
          <a:stretch/>
        </p:blipFill>
        <p:spPr>
          <a:xfrm>
            <a:off x="5341884" y="2418765"/>
            <a:ext cx="1508232" cy="384096"/>
          </a:xfrm>
          <a:prstGeom prst="rect">
            <a:avLst/>
          </a:prstGeom>
        </p:spPr>
      </p:pic>
      <p:grpSp>
        <p:nvGrpSpPr>
          <p:cNvPr id="1026" name="Group 1025">
            <a:extLst>
              <a:ext uri="{FF2B5EF4-FFF2-40B4-BE49-F238E27FC236}">
                <a16:creationId xmlns:a16="http://schemas.microsoft.com/office/drawing/2014/main" id="{3F84E101-90B6-AFA7-A26A-363C64758A12}"/>
              </a:ext>
            </a:extLst>
          </p:cNvPr>
          <p:cNvGrpSpPr/>
          <p:nvPr/>
        </p:nvGrpSpPr>
        <p:grpSpPr>
          <a:xfrm>
            <a:off x="5715000" y="3048000"/>
            <a:ext cx="762000" cy="762000"/>
            <a:chOff x="5715000" y="3048000"/>
            <a:chExt cx="762000" cy="7620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9ABA6E39-D8C4-3C2F-CE0C-2E7114EAB5DB}"/>
                </a:ext>
              </a:extLst>
            </p:cNvPr>
            <p:cNvSpPr/>
            <p:nvPr/>
          </p:nvSpPr>
          <p:spPr>
            <a:xfrm>
              <a:off x="5715000" y="3048000"/>
              <a:ext cx="762000" cy="76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pic>
          <p:nvPicPr>
            <p:cNvPr id="1025" name="Picture 1024">
              <a:extLst>
                <a:ext uri="{FF2B5EF4-FFF2-40B4-BE49-F238E27FC236}">
                  <a16:creationId xmlns:a16="http://schemas.microsoft.com/office/drawing/2014/main" id="{F50D0C31-50C8-1735-0451-69328008E1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532" t="7187" r="18124" b="31468"/>
            <a:stretch/>
          </p:blipFill>
          <p:spPr>
            <a:xfrm>
              <a:off x="5780173" y="3113173"/>
              <a:ext cx="631654" cy="6316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866845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B9BC99E5-F316-D434-BB91-A3A687CB4E9F}"/>
              </a:ext>
            </a:extLst>
          </p:cNvPr>
          <p:cNvGrpSpPr/>
          <p:nvPr/>
        </p:nvGrpSpPr>
        <p:grpSpPr>
          <a:xfrm>
            <a:off x="4383140" y="5463802"/>
            <a:ext cx="3504198" cy="387166"/>
            <a:chOff x="4005478" y="759722"/>
            <a:chExt cx="3504198" cy="387166"/>
          </a:xfrm>
        </p:grpSpPr>
        <p:pic>
          <p:nvPicPr>
            <p:cNvPr id="2050" name="Picture 2" descr="App Store PNG pour téléchargement gratuit">
              <a:extLst>
                <a:ext uri="{FF2B5EF4-FFF2-40B4-BE49-F238E27FC236}">
                  <a16:creationId xmlns:a16="http://schemas.microsoft.com/office/drawing/2014/main" id="{3FEBC198-4237-7745-C3F7-678F065681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5478" y="759722"/>
              <a:ext cx="1188720" cy="38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badge google play and app store button download 24170865 PNG">
              <a:extLst>
                <a:ext uri="{FF2B5EF4-FFF2-40B4-BE49-F238E27FC236}">
                  <a16:creationId xmlns:a16="http://schemas.microsoft.com/office/drawing/2014/main" id="{216E6777-EC65-9043-B250-FF6F96D71F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0956" y="759722"/>
              <a:ext cx="1188720" cy="38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53" name="TextBox 1052">
            <a:extLst>
              <a:ext uri="{FF2B5EF4-FFF2-40B4-BE49-F238E27FC236}">
                <a16:creationId xmlns:a16="http://schemas.microsoft.com/office/drawing/2014/main" id="{4B78CE46-5CEC-3C5C-46EB-24E44F86DB5A}"/>
              </a:ext>
            </a:extLst>
          </p:cNvPr>
          <p:cNvSpPr txBox="1"/>
          <p:nvPr/>
        </p:nvSpPr>
        <p:spPr>
          <a:xfrm>
            <a:off x="2259990" y="1006053"/>
            <a:ext cx="76720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b="1" dirty="0" err="1">
                <a:solidFill>
                  <a:srgbClr val="116A1B"/>
                </a:solidFill>
                <a:latin typeface="+mj-lt"/>
              </a:rPr>
              <a:t>TerraCity</a:t>
            </a:r>
            <a:r>
              <a:rPr lang="fr-FR" sz="2400" b="1" dirty="0">
                <a:latin typeface="+mj-lt"/>
              </a:rPr>
              <a:t> – </a:t>
            </a:r>
            <a:r>
              <a:rPr lang="en-US" sz="1800" b="1" dirty="0">
                <a:solidFill>
                  <a:srgbClr val="252525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Grow your plants </a:t>
            </a:r>
            <a:r>
              <a:rPr lang="en-US" sz="1800" b="1" dirty="0">
                <a:solidFill>
                  <a:srgbClr val="116A1B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easily</a:t>
            </a:r>
            <a:r>
              <a:rPr lang="en-US" sz="1800" b="1" dirty="0">
                <a:solidFill>
                  <a:srgbClr val="252525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, </a:t>
            </a:r>
            <a:r>
              <a:rPr lang="en-US" sz="1800" b="1" dirty="0">
                <a:solidFill>
                  <a:srgbClr val="116A1B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free</a:t>
            </a:r>
            <a:r>
              <a:rPr lang="en-US" sz="1800" b="1" dirty="0">
                <a:solidFill>
                  <a:srgbClr val="252525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n-US" sz="1800" b="1" dirty="0">
                <a:solidFill>
                  <a:srgbClr val="116A1B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of charge </a:t>
            </a:r>
            <a:r>
              <a:rPr lang="en-US" sz="1800" b="1" dirty="0">
                <a:solidFill>
                  <a:srgbClr val="252525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and </a:t>
            </a:r>
            <a:r>
              <a:rPr lang="en-US" sz="1800" b="1" dirty="0">
                <a:solidFill>
                  <a:srgbClr val="116A1B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sustainably</a:t>
            </a:r>
            <a:endParaRPr lang="fr-FR" sz="2400" b="1" dirty="0">
              <a:solidFill>
                <a:srgbClr val="116A1B"/>
              </a:solidFill>
              <a:latin typeface="+mj-lt"/>
            </a:endParaRPr>
          </a:p>
        </p:txBody>
      </p:sp>
      <p:sp>
        <p:nvSpPr>
          <p:cNvPr id="20" name="Date Placeholder 19">
            <a:extLst>
              <a:ext uri="{FF2B5EF4-FFF2-40B4-BE49-F238E27FC236}">
                <a16:creationId xmlns:a16="http://schemas.microsoft.com/office/drawing/2014/main" id="{7BB827B9-D47C-D2BE-3E75-1D9ABBB738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D5C03-5393-4A8D-BB6D-F19AE91D2925}" type="datetime1">
              <a:rPr lang="fr-FR" smtClean="0"/>
              <a:t>17/05/2025</a:t>
            </a:fld>
            <a:endParaRPr lang="fr-FR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C9B4E2A7-CB32-7A34-054C-E315E8354C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C7453-68A9-4BFA-BA49-EC3B00AC633A}" type="slidenum">
              <a:rPr lang="fr-FR" smtClean="0"/>
              <a:t>15</a:t>
            </a:fld>
            <a:endParaRPr lang="fr-FR"/>
          </a:p>
        </p:txBody>
      </p:sp>
      <p:grpSp>
        <p:nvGrpSpPr>
          <p:cNvPr id="2101" name="Group 2100">
            <a:extLst>
              <a:ext uri="{FF2B5EF4-FFF2-40B4-BE49-F238E27FC236}">
                <a16:creationId xmlns:a16="http://schemas.microsoft.com/office/drawing/2014/main" id="{AE967B6F-D614-0806-0FF8-8C0CB72CB7A2}"/>
              </a:ext>
            </a:extLst>
          </p:cNvPr>
          <p:cNvGrpSpPr/>
          <p:nvPr/>
        </p:nvGrpSpPr>
        <p:grpSpPr>
          <a:xfrm>
            <a:off x="6364270" y="1646978"/>
            <a:ext cx="1881540" cy="3564044"/>
            <a:chOff x="6220040" y="1700846"/>
            <a:chExt cx="1824664" cy="3456308"/>
          </a:xfrm>
        </p:grpSpPr>
        <p:sp>
          <p:nvSpPr>
            <p:cNvPr id="2102" name="Rectangle: Rounded Corners 2101">
              <a:extLst>
                <a:ext uri="{FF2B5EF4-FFF2-40B4-BE49-F238E27FC236}">
                  <a16:creationId xmlns:a16="http://schemas.microsoft.com/office/drawing/2014/main" id="{CDF33690-4924-7BB4-9B36-AC9460DCF511}"/>
                </a:ext>
              </a:extLst>
            </p:cNvPr>
            <p:cNvSpPr/>
            <p:nvPr/>
          </p:nvSpPr>
          <p:spPr>
            <a:xfrm>
              <a:off x="6303645" y="1754506"/>
              <a:ext cx="1663066" cy="3345180"/>
            </a:xfrm>
            <a:prstGeom prst="roundRect">
              <a:avLst>
                <a:gd name="adj" fmla="val 1368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103" name="Picture 2102" descr="A black background with white spots&#10;&#10;AI-generated content may be incorrect.">
              <a:extLst>
                <a:ext uri="{FF2B5EF4-FFF2-40B4-BE49-F238E27FC236}">
                  <a16:creationId xmlns:a16="http://schemas.microsoft.com/office/drawing/2014/main" id="{B6313687-93CF-E518-A730-71498B475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829" t="11792" r="29829" b="11792"/>
            <a:stretch/>
          </p:blipFill>
          <p:spPr>
            <a:xfrm>
              <a:off x="6220040" y="1700846"/>
              <a:ext cx="1824664" cy="3456308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17EF22D-AEBB-BD7C-3EC1-E5F0DCE33DC7}"/>
              </a:ext>
            </a:extLst>
          </p:cNvPr>
          <p:cNvGrpSpPr/>
          <p:nvPr/>
        </p:nvGrpSpPr>
        <p:grpSpPr>
          <a:xfrm>
            <a:off x="4114932" y="1646978"/>
            <a:ext cx="1727572" cy="3564044"/>
            <a:chOff x="4147296" y="1711236"/>
            <a:chExt cx="1665277" cy="3435528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52C06BBA-A6DC-EE0C-75DE-497C5C71110E}"/>
                </a:ext>
              </a:extLst>
            </p:cNvPr>
            <p:cNvSpPr/>
            <p:nvPr/>
          </p:nvSpPr>
          <p:spPr>
            <a:xfrm>
              <a:off x="4223385" y="1767840"/>
              <a:ext cx="1510665" cy="3331845"/>
            </a:xfrm>
            <a:prstGeom prst="roundRect">
              <a:avLst>
                <a:gd name="adj" fmla="val 847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032" name="Picture 8" descr="Samsung Galaxy S24 Ultra Front View Transparent 41329784 PNG">
              <a:extLst>
                <a:ext uri="{FF2B5EF4-FFF2-40B4-BE49-F238E27FC236}">
                  <a16:creationId xmlns:a16="http://schemas.microsoft.com/office/drawing/2014/main" id="{7C59B807-98D3-3D43-4DE6-EB84C87CC2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611" t="10000" r="30611" b="10000"/>
            <a:stretch/>
          </p:blipFill>
          <p:spPr bwMode="auto">
            <a:xfrm>
              <a:off x="4147296" y="1711236"/>
              <a:ext cx="1665277" cy="34355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23" name="Picture 2122">
            <a:extLst>
              <a:ext uri="{FF2B5EF4-FFF2-40B4-BE49-F238E27FC236}">
                <a16:creationId xmlns:a16="http://schemas.microsoft.com/office/drawing/2014/main" id="{939740EE-73A2-0C7F-C96C-392F37ECAB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277" y="1741029"/>
            <a:ext cx="1555402" cy="3372016"/>
          </a:xfrm>
          <a:prstGeom prst="roundRect">
            <a:avLst>
              <a:gd name="adj" fmla="val 11966"/>
            </a:avLst>
          </a:prstGeom>
          <a:effectLst>
            <a:softEdge rad="12700"/>
          </a:effectLst>
        </p:spPr>
      </p:pic>
      <p:pic>
        <p:nvPicPr>
          <p:cNvPr id="2127" name="Picture 2126">
            <a:extLst>
              <a:ext uri="{FF2B5EF4-FFF2-40B4-BE49-F238E27FC236}">
                <a16:creationId xmlns:a16="http://schemas.microsoft.com/office/drawing/2014/main" id="{9BEAF8BA-7D11-3509-6319-174F14592F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1802" y="1783616"/>
            <a:ext cx="1471306" cy="3300447"/>
          </a:xfrm>
          <a:prstGeom prst="roundRect">
            <a:avLst>
              <a:gd name="adj" fmla="val 5895"/>
            </a:avLst>
          </a:prstGeom>
        </p:spPr>
      </p:pic>
      <p:pic>
        <p:nvPicPr>
          <p:cNvPr id="2133" name="Picture 2132">
            <a:extLst>
              <a:ext uri="{FF2B5EF4-FFF2-40B4-BE49-F238E27FC236}">
                <a16:creationId xmlns:a16="http://schemas.microsoft.com/office/drawing/2014/main" id="{73EF6758-0E57-CB4E-0CC8-8C916DA5F2A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7928" y="2541658"/>
            <a:ext cx="2743200" cy="1157535"/>
          </a:xfrm>
          <a:prstGeom prst="rect">
            <a:avLst/>
          </a:prstGeom>
        </p:spPr>
      </p:pic>
      <p:sp>
        <p:nvSpPr>
          <p:cNvPr id="2134" name="TextBox 2133">
            <a:extLst>
              <a:ext uri="{FF2B5EF4-FFF2-40B4-BE49-F238E27FC236}">
                <a16:creationId xmlns:a16="http://schemas.microsoft.com/office/drawing/2014/main" id="{3831988A-F2C5-3AA0-3310-BDC45EA0DD54}"/>
              </a:ext>
            </a:extLst>
          </p:cNvPr>
          <p:cNvSpPr txBox="1"/>
          <p:nvPr/>
        </p:nvSpPr>
        <p:spPr>
          <a:xfrm>
            <a:off x="838200" y="3840480"/>
            <a:ext cx="158889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i="1" dirty="0" err="1">
                <a:solidFill>
                  <a:schemeClr val="accent6">
                    <a:lumMod val="75000"/>
                  </a:schemeClr>
                </a:solidFill>
              </a:rPr>
              <a:t>When</a:t>
            </a:r>
            <a:r>
              <a:rPr lang="fr-FR" i="1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fr-FR" i="1" dirty="0" err="1">
                <a:solidFill>
                  <a:schemeClr val="accent6">
                    <a:lumMod val="75000"/>
                  </a:schemeClr>
                </a:solidFill>
              </a:rPr>
              <a:t>garding</a:t>
            </a:r>
            <a:r>
              <a:rPr lang="fr-FR" i="1" dirty="0">
                <a:solidFill>
                  <a:schemeClr val="accent6">
                    <a:lumMod val="75000"/>
                  </a:schemeClr>
                </a:solidFill>
              </a:rPr>
              <a:t> </a:t>
            </a:r>
          </a:p>
          <a:p>
            <a:pPr algn="ctr"/>
            <a:r>
              <a:rPr lang="fr-FR" i="1" dirty="0" err="1">
                <a:solidFill>
                  <a:schemeClr val="accent6">
                    <a:lumMod val="75000"/>
                  </a:schemeClr>
                </a:solidFill>
              </a:rPr>
              <a:t>becomes</a:t>
            </a:r>
            <a:endParaRPr lang="fr-FR" i="1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r>
              <a:rPr lang="fr-FR" i="1" dirty="0">
                <a:solidFill>
                  <a:schemeClr val="accent6">
                    <a:lumMod val="75000"/>
                  </a:schemeClr>
                </a:solidFill>
              </a:rPr>
              <a:t>a </a:t>
            </a:r>
            <a:r>
              <a:rPr lang="fr-FR" b="1" i="1" dirty="0" err="1">
                <a:solidFill>
                  <a:schemeClr val="accent6">
                    <a:lumMod val="75000"/>
                  </a:schemeClr>
                </a:solidFill>
              </a:rPr>
              <a:t>game</a:t>
            </a:r>
            <a:endParaRPr lang="fr-FR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92408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9129596-0C36-6C69-D936-83F602EE1A20}"/>
              </a:ext>
            </a:extLst>
          </p:cNvPr>
          <p:cNvSpPr txBox="1"/>
          <p:nvPr/>
        </p:nvSpPr>
        <p:spPr>
          <a:xfrm>
            <a:off x="3485959" y="2890391"/>
            <a:ext cx="522008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b="1" dirty="0" err="1">
                <a:solidFill>
                  <a:srgbClr val="116A1B"/>
                </a:solidFill>
              </a:rPr>
              <a:t>TerraCity</a:t>
            </a:r>
            <a:r>
              <a:rPr lang="fr-FR" sz="3200" dirty="0"/>
              <a:t>, </a:t>
            </a:r>
          </a:p>
          <a:p>
            <a:pPr algn="ctr"/>
            <a:r>
              <a:rPr lang="fr-FR" sz="3200" dirty="0" err="1"/>
              <a:t>Way</a:t>
            </a:r>
            <a:r>
              <a:rPr lang="fr-FR" sz="3200" dirty="0"/>
              <a:t> </a:t>
            </a:r>
            <a:r>
              <a:rPr lang="fr-FR" sz="3200" dirty="0" err="1"/>
              <a:t>beyond</a:t>
            </a:r>
            <a:r>
              <a:rPr lang="fr-FR" sz="3200" dirty="0"/>
              <a:t> </a:t>
            </a:r>
            <a:r>
              <a:rPr lang="fr-FR" sz="3200" i="1" dirty="0"/>
              <a:t>a simple </a:t>
            </a:r>
            <a:r>
              <a:rPr lang="fr-FR" sz="3200" i="1" dirty="0" err="1"/>
              <a:t>garden</a:t>
            </a:r>
            <a:endParaRPr lang="fr-FR" sz="3200" i="1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9244235-7839-0B1B-A6D2-F37162237A78}"/>
              </a:ext>
            </a:extLst>
          </p:cNvPr>
          <p:cNvGrpSpPr/>
          <p:nvPr/>
        </p:nvGrpSpPr>
        <p:grpSpPr>
          <a:xfrm>
            <a:off x="353032" y="301050"/>
            <a:ext cx="4265524" cy="1282001"/>
            <a:chOff x="7251672" y="2147339"/>
            <a:chExt cx="4265524" cy="1282001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84754D1B-743B-B3BD-52FF-C2000F8A711B}"/>
                </a:ext>
              </a:extLst>
            </p:cNvPr>
            <p:cNvSpPr/>
            <p:nvPr/>
          </p:nvSpPr>
          <p:spPr>
            <a:xfrm>
              <a:off x="7251672" y="2147339"/>
              <a:ext cx="1331088" cy="1282001"/>
            </a:xfrm>
            <a:custGeom>
              <a:avLst/>
              <a:gdLst/>
              <a:ahLst/>
              <a:cxnLst/>
              <a:rect l="l" t="t" r="r" b="b"/>
              <a:pathLst>
                <a:path w="1331088" h="1282001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03383"/>
                    <a:pt x="1289185" y="931435"/>
                    <a:pt x="1217424" y="1037656"/>
                  </a:cubicBezTo>
                  <a:lnTo>
                    <a:pt x="1176558" y="1087186"/>
                  </a:lnTo>
                  <a:lnTo>
                    <a:pt x="1172982" y="1036133"/>
                  </a:lnTo>
                  <a:cubicBezTo>
                    <a:pt x="1165066" y="983022"/>
                    <a:pt x="1145276" y="940100"/>
                    <a:pt x="1113613" y="907367"/>
                  </a:cubicBezTo>
                  <a:cubicBezTo>
                    <a:pt x="1071396" y="863723"/>
                    <a:pt x="1018339" y="835341"/>
                    <a:pt x="954442" y="822219"/>
                  </a:cubicBezTo>
                  <a:cubicBezTo>
                    <a:pt x="1013204" y="805674"/>
                    <a:pt x="1059843" y="777291"/>
                    <a:pt x="1094359" y="737071"/>
                  </a:cubicBezTo>
                  <a:cubicBezTo>
                    <a:pt x="1128874" y="696850"/>
                    <a:pt x="1146132" y="642224"/>
                    <a:pt x="1146132" y="573192"/>
                  </a:cubicBezTo>
                  <a:cubicBezTo>
                    <a:pt x="1146132" y="504731"/>
                    <a:pt x="1128874" y="448679"/>
                    <a:pt x="1094359" y="405035"/>
                  </a:cubicBezTo>
                  <a:cubicBezTo>
                    <a:pt x="1059843" y="361391"/>
                    <a:pt x="1014060" y="329158"/>
                    <a:pt x="957009" y="308334"/>
                  </a:cubicBezTo>
                  <a:cubicBezTo>
                    <a:pt x="899958" y="287510"/>
                    <a:pt x="837773" y="277099"/>
                    <a:pt x="770453" y="277099"/>
                  </a:cubicBezTo>
                  <a:cubicBezTo>
                    <a:pt x="698569" y="277099"/>
                    <a:pt x="633816" y="289365"/>
                    <a:pt x="576195" y="313896"/>
                  </a:cubicBezTo>
                  <a:cubicBezTo>
                    <a:pt x="518574" y="338428"/>
                    <a:pt x="472791" y="375654"/>
                    <a:pt x="438845" y="425573"/>
                  </a:cubicBezTo>
                  <a:cubicBezTo>
                    <a:pt x="404900" y="475493"/>
                    <a:pt x="387927" y="539247"/>
                    <a:pt x="387927" y="616836"/>
                  </a:cubicBezTo>
                  <a:lnTo>
                    <a:pt x="605291" y="616836"/>
                  </a:lnTo>
                  <a:cubicBezTo>
                    <a:pt x="605291" y="568913"/>
                    <a:pt x="619696" y="531402"/>
                    <a:pt x="648507" y="504303"/>
                  </a:cubicBezTo>
                  <a:cubicBezTo>
                    <a:pt x="677318" y="477204"/>
                    <a:pt x="718251" y="463655"/>
                    <a:pt x="771309" y="463655"/>
                  </a:cubicBezTo>
                  <a:cubicBezTo>
                    <a:pt x="820372" y="463655"/>
                    <a:pt x="858739" y="474209"/>
                    <a:pt x="886409" y="495318"/>
                  </a:cubicBezTo>
                  <a:cubicBezTo>
                    <a:pt x="914078" y="516427"/>
                    <a:pt x="927913" y="549231"/>
                    <a:pt x="927913" y="593731"/>
                  </a:cubicBezTo>
                  <a:cubicBezTo>
                    <a:pt x="927913" y="637089"/>
                    <a:pt x="912224" y="672033"/>
                    <a:pt x="880846" y="698561"/>
                  </a:cubicBezTo>
                  <a:cubicBezTo>
                    <a:pt x="849468" y="725090"/>
                    <a:pt x="808106" y="738354"/>
                    <a:pt x="756761" y="738354"/>
                  </a:cubicBezTo>
                  <a:lnTo>
                    <a:pt x="680598" y="738354"/>
                  </a:lnTo>
                  <a:lnTo>
                    <a:pt x="680598" y="916353"/>
                  </a:lnTo>
                  <a:lnTo>
                    <a:pt x="749915" y="916353"/>
                  </a:lnTo>
                  <a:cubicBezTo>
                    <a:pt x="806965" y="916353"/>
                    <a:pt x="853747" y="928904"/>
                    <a:pt x="890260" y="954006"/>
                  </a:cubicBezTo>
                  <a:cubicBezTo>
                    <a:pt x="926772" y="979109"/>
                    <a:pt x="945028" y="1019615"/>
                    <a:pt x="945028" y="1075524"/>
                  </a:cubicBezTo>
                  <a:cubicBezTo>
                    <a:pt x="945028" y="1133146"/>
                    <a:pt x="930338" y="1175363"/>
                    <a:pt x="900957" y="1202177"/>
                  </a:cubicBezTo>
                  <a:cubicBezTo>
                    <a:pt x="871575" y="1228991"/>
                    <a:pt x="828645" y="1242398"/>
                    <a:pt x="772164" y="1242398"/>
                  </a:cubicBezTo>
                  <a:cubicBezTo>
                    <a:pt x="709979" y="1242398"/>
                    <a:pt x="661629" y="1226566"/>
                    <a:pt x="627113" y="1194903"/>
                  </a:cubicBezTo>
                  <a:cubicBezTo>
                    <a:pt x="592597" y="1163240"/>
                    <a:pt x="575339" y="1119168"/>
                    <a:pt x="575339" y="1062688"/>
                  </a:cubicBezTo>
                  <a:lnTo>
                    <a:pt x="357976" y="1062688"/>
                  </a:lnTo>
                  <a:cubicBezTo>
                    <a:pt x="357976" y="1124018"/>
                    <a:pt x="367033" y="1177574"/>
                    <a:pt x="385146" y="1223357"/>
                  </a:cubicBezTo>
                  <a:lnTo>
                    <a:pt x="416839" y="1282001"/>
                  </a:lnTo>
                  <a:lnTo>
                    <a:pt x="406484" y="1278787"/>
                  </a:lnTo>
                  <a:cubicBezTo>
                    <a:pt x="167610" y="1177751"/>
                    <a:pt x="0" y="941222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D188EB7-5056-C5B4-04D4-0666D932AB49}"/>
                </a:ext>
              </a:extLst>
            </p:cNvPr>
            <p:cNvSpPr txBox="1"/>
            <p:nvPr/>
          </p:nvSpPr>
          <p:spPr>
            <a:xfrm>
              <a:off x="9012401" y="2555910"/>
              <a:ext cx="250479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Social inclusive </a:t>
              </a:r>
              <a:r>
                <a:rPr lang="fr-FR" dirty="0" err="1"/>
                <a:t>experiences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9267304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9129596-0C36-6C69-D936-83F602EE1A20}"/>
              </a:ext>
            </a:extLst>
          </p:cNvPr>
          <p:cNvSpPr txBox="1"/>
          <p:nvPr/>
        </p:nvSpPr>
        <p:spPr>
          <a:xfrm>
            <a:off x="3799024" y="1843911"/>
            <a:ext cx="459395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800" b="1" dirty="0" err="1">
                <a:solidFill>
                  <a:srgbClr val="116A1B"/>
                </a:solidFill>
              </a:rPr>
              <a:t>TerraCity</a:t>
            </a:r>
            <a:r>
              <a:rPr lang="fr-FR" sz="2800" dirty="0"/>
              <a:t>, </a:t>
            </a:r>
          </a:p>
          <a:p>
            <a:pPr algn="ctr"/>
            <a:r>
              <a:rPr lang="fr-FR" sz="2800" dirty="0" err="1"/>
              <a:t>Way</a:t>
            </a:r>
            <a:r>
              <a:rPr lang="fr-FR" sz="2800" dirty="0"/>
              <a:t> </a:t>
            </a:r>
            <a:r>
              <a:rPr lang="fr-FR" sz="2800" dirty="0" err="1"/>
              <a:t>beyond</a:t>
            </a:r>
            <a:r>
              <a:rPr lang="fr-FR" sz="2800" dirty="0"/>
              <a:t> </a:t>
            </a:r>
            <a:r>
              <a:rPr lang="fr-FR" sz="2800" i="1" dirty="0"/>
              <a:t>a simple </a:t>
            </a:r>
            <a:r>
              <a:rPr lang="fr-FR" sz="2800" i="1" dirty="0" err="1"/>
              <a:t>garden</a:t>
            </a:r>
            <a:endParaRPr lang="fr-FR" sz="2800" i="1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9244235-7839-0B1B-A6D2-F37162237A78}"/>
              </a:ext>
            </a:extLst>
          </p:cNvPr>
          <p:cNvGrpSpPr/>
          <p:nvPr/>
        </p:nvGrpSpPr>
        <p:grpSpPr>
          <a:xfrm>
            <a:off x="353032" y="301050"/>
            <a:ext cx="4265524" cy="1282001"/>
            <a:chOff x="7251672" y="2147339"/>
            <a:chExt cx="4265524" cy="1282001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84754D1B-743B-B3BD-52FF-C2000F8A711B}"/>
                </a:ext>
              </a:extLst>
            </p:cNvPr>
            <p:cNvSpPr/>
            <p:nvPr/>
          </p:nvSpPr>
          <p:spPr>
            <a:xfrm>
              <a:off x="7251672" y="2147339"/>
              <a:ext cx="1331088" cy="1282001"/>
            </a:xfrm>
            <a:custGeom>
              <a:avLst/>
              <a:gdLst/>
              <a:ahLst/>
              <a:cxnLst/>
              <a:rect l="l" t="t" r="r" b="b"/>
              <a:pathLst>
                <a:path w="1331088" h="1282001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03383"/>
                    <a:pt x="1289185" y="931435"/>
                    <a:pt x="1217424" y="1037656"/>
                  </a:cubicBezTo>
                  <a:lnTo>
                    <a:pt x="1176558" y="1087186"/>
                  </a:lnTo>
                  <a:lnTo>
                    <a:pt x="1172982" y="1036133"/>
                  </a:lnTo>
                  <a:cubicBezTo>
                    <a:pt x="1165066" y="983022"/>
                    <a:pt x="1145276" y="940100"/>
                    <a:pt x="1113613" y="907367"/>
                  </a:cubicBezTo>
                  <a:cubicBezTo>
                    <a:pt x="1071396" y="863723"/>
                    <a:pt x="1018339" y="835341"/>
                    <a:pt x="954442" y="822219"/>
                  </a:cubicBezTo>
                  <a:cubicBezTo>
                    <a:pt x="1013204" y="805674"/>
                    <a:pt x="1059843" y="777291"/>
                    <a:pt x="1094359" y="737071"/>
                  </a:cubicBezTo>
                  <a:cubicBezTo>
                    <a:pt x="1128874" y="696850"/>
                    <a:pt x="1146132" y="642224"/>
                    <a:pt x="1146132" y="573192"/>
                  </a:cubicBezTo>
                  <a:cubicBezTo>
                    <a:pt x="1146132" y="504731"/>
                    <a:pt x="1128874" y="448679"/>
                    <a:pt x="1094359" y="405035"/>
                  </a:cubicBezTo>
                  <a:cubicBezTo>
                    <a:pt x="1059843" y="361391"/>
                    <a:pt x="1014060" y="329158"/>
                    <a:pt x="957009" y="308334"/>
                  </a:cubicBezTo>
                  <a:cubicBezTo>
                    <a:pt x="899958" y="287510"/>
                    <a:pt x="837773" y="277099"/>
                    <a:pt x="770453" y="277099"/>
                  </a:cubicBezTo>
                  <a:cubicBezTo>
                    <a:pt x="698569" y="277099"/>
                    <a:pt x="633816" y="289365"/>
                    <a:pt x="576195" y="313896"/>
                  </a:cubicBezTo>
                  <a:cubicBezTo>
                    <a:pt x="518574" y="338428"/>
                    <a:pt x="472791" y="375654"/>
                    <a:pt x="438845" y="425573"/>
                  </a:cubicBezTo>
                  <a:cubicBezTo>
                    <a:pt x="404900" y="475493"/>
                    <a:pt x="387927" y="539247"/>
                    <a:pt x="387927" y="616836"/>
                  </a:cubicBezTo>
                  <a:lnTo>
                    <a:pt x="605291" y="616836"/>
                  </a:lnTo>
                  <a:cubicBezTo>
                    <a:pt x="605291" y="568913"/>
                    <a:pt x="619696" y="531402"/>
                    <a:pt x="648507" y="504303"/>
                  </a:cubicBezTo>
                  <a:cubicBezTo>
                    <a:pt x="677318" y="477204"/>
                    <a:pt x="718251" y="463655"/>
                    <a:pt x="771309" y="463655"/>
                  </a:cubicBezTo>
                  <a:cubicBezTo>
                    <a:pt x="820372" y="463655"/>
                    <a:pt x="858739" y="474209"/>
                    <a:pt x="886409" y="495318"/>
                  </a:cubicBezTo>
                  <a:cubicBezTo>
                    <a:pt x="914078" y="516427"/>
                    <a:pt x="927913" y="549231"/>
                    <a:pt x="927913" y="593731"/>
                  </a:cubicBezTo>
                  <a:cubicBezTo>
                    <a:pt x="927913" y="637089"/>
                    <a:pt x="912224" y="672033"/>
                    <a:pt x="880846" y="698561"/>
                  </a:cubicBezTo>
                  <a:cubicBezTo>
                    <a:pt x="849468" y="725090"/>
                    <a:pt x="808106" y="738354"/>
                    <a:pt x="756761" y="738354"/>
                  </a:cubicBezTo>
                  <a:lnTo>
                    <a:pt x="680598" y="738354"/>
                  </a:lnTo>
                  <a:lnTo>
                    <a:pt x="680598" y="916353"/>
                  </a:lnTo>
                  <a:lnTo>
                    <a:pt x="749915" y="916353"/>
                  </a:lnTo>
                  <a:cubicBezTo>
                    <a:pt x="806965" y="916353"/>
                    <a:pt x="853747" y="928904"/>
                    <a:pt x="890260" y="954006"/>
                  </a:cubicBezTo>
                  <a:cubicBezTo>
                    <a:pt x="926772" y="979109"/>
                    <a:pt x="945028" y="1019615"/>
                    <a:pt x="945028" y="1075524"/>
                  </a:cubicBezTo>
                  <a:cubicBezTo>
                    <a:pt x="945028" y="1133146"/>
                    <a:pt x="930338" y="1175363"/>
                    <a:pt x="900957" y="1202177"/>
                  </a:cubicBezTo>
                  <a:cubicBezTo>
                    <a:pt x="871575" y="1228991"/>
                    <a:pt x="828645" y="1242398"/>
                    <a:pt x="772164" y="1242398"/>
                  </a:cubicBezTo>
                  <a:cubicBezTo>
                    <a:pt x="709979" y="1242398"/>
                    <a:pt x="661629" y="1226566"/>
                    <a:pt x="627113" y="1194903"/>
                  </a:cubicBezTo>
                  <a:cubicBezTo>
                    <a:pt x="592597" y="1163240"/>
                    <a:pt x="575339" y="1119168"/>
                    <a:pt x="575339" y="1062688"/>
                  </a:cubicBezTo>
                  <a:lnTo>
                    <a:pt x="357976" y="1062688"/>
                  </a:lnTo>
                  <a:cubicBezTo>
                    <a:pt x="357976" y="1124018"/>
                    <a:pt x="367033" y="1177574"/>
                    <a:pt x="385146" y="1223357"/>
                  </a:cubicBezTo>
                  <a:lnTo>
                    <a:pt x="416839" y="1282001"/>
                  </a:lnTo>
                  <a:lnTo>
                    <a:pt x="406484" y="1278787"/>
                  </a:lnTo>
                  <a:cubicBezTo>
                    <a:pt x="167610" y="1177751"/>
                    <a:pt x="0" y="941222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D188EB7-5056-C5B4-04D4-0666D932AB49}"/>
                </a:ext>
              </a:extLst>
            </p:cNvPr>
            <p:cNvSpPr txBox="1"/>
            <p:nvPr/>
          </p:nvSpPr>
          <p:spPr>
            <a:xfrm>
              <a:off x="9012401" y="2555910"/>
              <a:ext cx="250479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Social inclusive </a:t>
              </a:r>
              <a:r>
                <a:rPr lang="fr-FR" dirty="0" err="1"/>
                <a:t>experiences</a:t>
              </a:r>
              <a:endParaRPr lang="fr-FR" dirty="0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0813AB1-A9E7-2033-566F-E1A6DC6F065A}"/>
              </a:ext>
            </a:extLst>
          </p:cNvPr>
          <p:cNvSpPr txBox="1"/>
          <p:nvPr/>
        </p:nvSpPr>
        <p:spPr>
          <a:xfrm>
            <a:off x="2598420" y="3731290"/>
            <a:ext cx="734822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2400" b="1" dirty="0"/>
              <a:t>Partnerships </a:t>
            </a:r>
            <a:r>
              <a:rPr lang="fr-FR" sz="2400" b="1" dirty="0" err="1"/>
              <a:t>with</a:t>
            </a:r>
            <a:endParaRPr lang="fr-FR" sz="2400" b="1" dirty="0"/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fr-FR" sz="2400" b="1" dirty="0" err="1"/>
              <a:t>Primary</a:t>
            </a:r>
            <a:r>
              <a:rPr lang="fr-FR" sz="2400" b="1" dirty="0"/>
              <a:t> and </a:t>
            </a:r>
            <a:r>
              <a:rPr lang="fr-FR" sz="2400" b="1" dirty="0" err="1"/>
              <a:t>secondary</a:t>
            </a:r>
            <a:r>
              <a:rPr lang="fr-FR" sz="2400" b="1" dirty="0"/>
              <a:t> </a:t>
            </a:r>
            <a:r>
              <a:rPr lang="fr-FR" sz="2400" b="1" dirty="0" err="1"/>
              <a:t>schools</a:t>
            </a:r>
            <a:r>
              <a:rPr lang="fr-FR" sz="2400" b="1" dirty="0"/>
              <a:t>, nurseries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fr-FR" sz="2400" b="1" dirty="0" err="1"/>
              <a:t>Vocational</a:t>
            </a:r>
            <a:r>
              <a:rPr lang="fr-FR" sz="2400" b="1" dirty="0"/>
              <a:t> </a:t>
            </a:r>
            <a:r>
              <a:rPr lang="fr-FR" sz="2400" b="1" dirty="0" err="1"/>
              <a:t>integration</a:t>
            </a:r>
            <a:r>
              <a:rPr lang="fr-FR" sz="2400" b="1" dirty="0"/>
              <a:t> centers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fr-FR" sz="2400" b="1" dirty="0"/>
              <a:t>Inclusion of the </a:t>
            </a:r>
            <a:r>
              <a:rPr lang="fr-FR" sz="2400" b="1" dirty="0" err="1"/>
              <a:t>elderly</a:t>
            </a:r>
            <a:r>
              <a:rPr lang="fr-FR" sz="2400" b="1" dirty="0"/>
              <a:t> and </a:t>
            </a:r>
            <a:r>
              <a:rPr lang="fr-FR" sz="2400" b="1" dirty="0" err="1"/>
              <a:t>disabled</a:t>
            </a:r>
            <a:r>
              <a:rPr lang="fr-FR" sz="2400" b="1" dirty="0"/>
              <a:t> peo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79516D-0A46-6F2E-3918-E7DF476B3CED}"/>
              </a:ext>
            </a:extLst>
          </p:cNvPr>
          <p:cNvSpPr txBox="1"/>
          <p:nvPr/>
        </p:nvSpPr>
        <p:spPr>
          <a:xfrm>
            <a:off x="3104674" y="4054455"/>
            <a:ext cx="4315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i="0" dirty="0">
                <a:solidFill>
                  <a:schemeClr val="accent6">
                    <a:lumMod val="75000"/>
                  </a:schemeClr>
                </a:solidFill>
                <a:effectLst/>
                <a:latin typeface="Google Sans"/>
              </a:rPr>
              <a:t>✔</a:t>
            </a:r>
            <a:endParaRPr lang="fr-F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D8D91EB-AC09-44B6-A4A2-F0EC8DBF79EB}"/>
              </a:ext>
            </a:extLst>
          </p:cNvPr>
          <p:cNvSpPr txBox="1"/>
          <p:nvPr/>
        </p:nvSpPr>
        <p:spPr>
          <a:xfrm>
            <a:off x="3915684" y="4418985"/>
            <a:ext cx="4315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i="0" dirty="0">
                <a:solidFill>
                  <a:schemeClr val="accent6">
                    <a:lumMod val="75000"/>
                  </a:schemeClr>
                </a:solidFill>
                <a:effectLst/>
                <a:latin typeface="Google Sans"/>
              </a:rPr>
              <a:t>✔</a:t>
            </a:r>
            <a:endParaRPr lang="fr-F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D3A638-D687-C67D-DB6C-E1E2CC7C690B}"/>
              </a:ext>
            </a:extLst>
          </p:cNvPr>
          <p:cNvSpPr txBox="1"/>
          <p:nvPr/>
        </p:nvSpPr>
        <p:spPr>
          <a:xfrm>
            <a:off x="3000648" y="4793000"/>
            <a:ext cx="4315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i="0" dirty="0">
                <a:solidFill>
                  <a:schemeClr val="accent6">
                    <a:lumMod val="75000"/>
                  </a:schemeClr>
                </a:solidFill>
                <a:effectLst/>
                <a:latin typeface="Google Sans"/>
              </a:rPr>
              <a:t>✔</a:t>
            </a:r>
            <a:endParaRPr lang="fr-FR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2971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4C89996C-9E5D-C554-8621-EACEEB0D142B}"/>
              </a:ext>
            </a:extLst>
          </p:cNvPr>
          <p:cNvGrpSpPr/>
          <p:nvPr/>
        </p:nvGrpSpPr>
        <p:grpSpPr>
          <a:xfrm>
            <a:off x="847906" y="650562"/>
            <a:ext cx="4268490" cy="1337020"/>
            <a:chOff x="7248706" y="4372664"/>
            <a:chExt cx="4268490" cy="133702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DE0C761-BC30-6FCF-4605-88496CFBBABC}"/>
                </a:ext>
              </a:extLst>
            </p:cNvPr>
            <p:cNvSpPr txBox="1"/>
            <p:nvPr/>
          </p:nvSpPr>
          <p:spPr>
            <a:xfrm>
              <a:off x="9012401" y="4718009"/>
              <a:ext cx="250479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Collaboration </a:t>
              </a:r>
              <a:r>
                <a:rPr lang="fr-FR" dirty="0" err="1"/>
                <a:t>with</a:t>
              </a:r>
              <a:r>
                <a:rPr lang="fr-FR" dirty="0"/>
                <a:t> local businesses</a:t>
              </a: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EC449FF-439B-881C-CFCD-36BFF2772F4C}"/>
                </a:ext>
              </a:extLst>
            </p:cNvPr>
            <p:cNvSpPr/>
            <p:nvPr/>
          </p:nvSpPr>
          <p:spPr>
            <a:xfrm>
              <a:off x="7248706" y="4372664"/>
              <a:ext cx="1337020" cy="1337020"/>
            </a:xfrm>
            <a:custGeom>
              <a:avLst/>
              <a:gdLst/>
              <a:ahLst/>
              <a:cxnLst/>
              <a:rect l="l" t="t" r="r" b="b"/>
              <a:pathLst>
                <a:path w="1337020" h="1337020">
                  <a:moveTo>
                    <a:pt x="1057836" y="1093144"/>
                  </a:moveTo>
                  <a:lnTo>
                    <a:pt x="1180883" y="1093144"/>
                  </a:lnTo>
                  <a:lnTo>
                    <a:pt x="1141218" y="1141218"/>
                  </a:lnTo>
                  <a:lnTo>
                    <a:pt x="1057836" y="1210015"/>
                  </a:lnTo>
                  <a:close/>
                  <a:moveTo>
                    <a:pt x="874247" y="568707"/>
                  </a:moveTo>
                  <a:lnTo>
                    <a:pt x="874247" y="938019"/>
                  </a:lnTo>
                  <a:lnTo>
                    <a:pt x="627328" y="938019"/>
                  </a:lnTo>
                  <a:close/>
                  <a:moveTo>
                    <a:pt x="668510" y="0"/>
                  </a:moveTo>
                  <a:cubicBezTo>
                    <a:pt x="1037718" y="0"/>
                    <a:pt x="1337020" y="299302"/>
                    <a:pt x="1337020" y="668510"/>
                  </a:cubicBezTo>
                  <a:cubicBezTo>
                    <a:pt x="1337020" y="806963"/>
                    <a:pt x="1294931" y="935586"/>
                    <a:pt x="1222849" y="1042280"/>
                  </a:cubicBezTo>
                  <a:lnTo>
                    <a:pt x="1181652" y="1092212"/>
                  </a:lnTo>
                  <a:lnTo>
                    <a:pt x="1181652" y="938019"/>
                  </a:lnTo>
                  <a:lnTo>
                    <a:pt x="1057836" y="938019"/>
                  </a:lnTo>
                  <a:lnTo>
                    <a:pt x="1057836" y="330326"/>
                  </a:lnTo>
                  <a:lnTo>
                    <a:pt x="870689" y="330326"/>
                  </a:lnTo>
                  <a:lnTo>
                    <a:pt x="455124" y="933038"/>
                  </a:lnTo>
                  <a:lnTo>
                    <a:pt x="455124" y="1093144"/>
                  </a:lnTo>
                  <a:lnTo>
                    <a:pt x="870689" y="1093144"/>
                  </a:lnTo>
                  <a:lnTo>
                    <a:pt x="870689" y="1264636"/>
                  </a:lnTo>
                  <a:lnTo>
                    <a:pt x="965294" y="1264636"/>
                  </a:lnTo>
                  <a:lnTo>
                    <a:pt x="928724" y="1284485"/>
                  </a:lnTo>
                  <a:cubicBezTo>
                    <a:pt x="848745" y="1318314"/>
                    <a:pt x="760812" y="1337020"/>
                    <a:pt x="668510" y="1337020"/>
                  </a:cubicBezTo>
                  <a:cubicBezTo>
                    <a:pt x="299302" y="1337020"/>
                    <a:pt x="0" y="1037718"/>
                    <a:pt x="0" y="668510"/>
                  </a:cubicBezTo>
                  <a:cubicBezTo>
                    <a:pt x="0" y="299302"/>
                    <a:pt x="299302" y="0"/>
                    <a:pt x="668510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5BA069F3-7C42-CA92-68F1-BAAE93697F79}"/>
              </a:ext>
            </a:extLst>
          </p:cNvPr>
          <p:cNvSpPr txBox="1"/>
          <p:nvPr/>
        </p:nvSpPr>
        <p:spPr>
          <a:xfrm>
            <a:off x="2776790" y="2870522"/>
            <a:ext cx="66384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wth in tourism (+5% est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equent reduction in the number of vacant cells (-1% est.)</a:t>
            </a:r>
            <a:r>
              <a:rPr lang="fr-FR" dirty="0"/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12A95DA-5E61-6FAB-B779-E7896B91F88B}"/>
              </a:ext>
            </a:extLst>
          </p:cNvPr>
          <p:cNvSpPr txBox="1"/>
          <p:nvPr/>
        </p:nvSpPr>
        <p:spPr>
          <a:xfrm>
            <a:off x="3048965" y="6314917"/>
            <a:ext cx="609407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200" dirty="0" err="1"/>
              <a:t>Study</a:t>
            </a:r>
            <a:r>
              <a:rPr lang="fr-FR" sz="1200" dirty="0"/>
              <a:t> </a:t>
            </a:r>
            <a:r>
              <a:rPr lang="fr-FR" sz="1200" dirty="0" err="1"/>
              <a:t>based</a:t>
            </a:r>
            <a:r>
              <a:rPr lang="fr-FR" sz="1200" dirty="0"/>
              <a:t> on INSEE 2022, use of </a:t>
            </a:r>
            <a:r>
              <a:rPr lang="fr-FR" sz="1200" dirty="0" err="1"/>
              <a:t>emerging</a:t>
            </a:r>
            <a:r>
              <a:rPr lang="fr-FR" sz="1200" dirty="0"/>
              <a:t> technologies in city centers </a:t>
            </a:r>
          </a:p>
        </p:txBody>
      </p:sp>
    </p:spTree>
    <p:extLst>
      <p:ext uri="{BB962C8B-B14F-4D97-AF65-F5344CB8AC3E}">
        <p14:creationId xmlns:p14="http://schemas.microsoft.com/office/powerpoint/2010/main" val="1406458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68EF0-8F9E-795A-196F-97A6ACB97A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4EBE78A-63B6-6BEA-0365-19CBE3AA7EE9}"/>
              </a:ext>
            </a:extLst>
          </p:cNvPr>
          <p:cNvSpPr txBox="1"/>
          <p:nvPr/>
        </p:nvSpPr>
        <p:spPr>
          <a:xfrm>
            <a:off x="2646218" y="2459504"/>
            <a:ext cx="689956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0" b="1" dirty="0">
                <a:solidFill>
                  <a:srgbClr val="116A1B"/>
                </a:solidFill>
              </a:rPr>
              <a:t>50k €</a:t>
            </a:r>
          </a:p>
          <a:p>
            <a:pPr algn="ctr"/>
            <a:r>
              <a:rPr lang="fr-FR" sz="6000" dirty="0"/>
              <a:t>First Investment</a:t>
            </a:r>
            <a:endParaRPr lang="fr-FR" sz="6000" i="1" dirty="0"/>
          </a:p>
        </p:txBody>
      </p:sp>
    </p:spTree>
    <p:extLst>
      <p:ext uri="{BB962C8B-B14F-4D97-AF65-F5344CB8AC3E}">
        <p14:creationId xmlns:p14="http://schemas.microsoft.com/office/powerpoint/2010/main" val="7386281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8CD5433E-4AC2-18EC-44EC-8095E73F658B}"/>
              </a:ext>
            </a:extLst>
          </p:cNvPr>
          <p:cNvSpPr txBox="1"/>
          <p:nvPr/>
        </p:nvSpPr>
        <p:spPr>
          <a:xfrm>
            <a:off x="703451" y="3226507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C37D90-A8DD-19AF-AE42-DCAC9243A961}"/>
              </a:ext>
            </a:extLst>
          </p:cNvPr>
          <p:cNvSpPr txBox="1"/>
          <p:nvPr/>
        </p:nvSpPr>
        <p:spPr>
          <a:xfrm>
            <a:off x="1681110" y="1763467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08DCC06-A6D2-4F12-C7E9-13CC798031EA}"/>
              </a:ext>
            </a:extLst>
          </p:cNvPr>
          <p:cNvSpPr txBox="1"/>
          <p:nvPr/>
        </p:nvSpPr>
        <p:spPr>
          <a:xfrm>
            <a:off x="1355223" y="1031947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85F280A-8BB6-9C14-DCBC-05580DA06993}"/>
              </a:ext>
            </a:extLst>
          </p:cNvPr>
          <p:cNvSpPr txBox="1"/>
          <p:nvPr/>
        </p:nvSpPr>
        <p:spPr>
          <a:xfrm>
            <a:off x="1029337" y="-2625653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8" name="bas">
            <a:extLst>
              <a:ext uri="{FF2B5EF4-FFF2-40B4-BE49-F238E27FC236}">
                <a16:creationId xmlns:a16="http://schemas.microsoft.com/office/drawing/2014/main" id="{CC869F77-116E-0CCB-1801-8A5011762FD5}"/>
              </a:ext>
            </a:extLst>
          </p:cNvPr>
          <p:cNvSpPr/>
          <p:nvPr/>
        </p:nvSpPr>
        <p:spPr>
          <a:xfrm>
            <a:off x="467647" y="4849213"/>
            <a:ext cx="2479040" cy="4437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haut">
            <a:extLst>
              <a:ext uri="{FF2B5EF4-FFF2-40B4-BE49-F238E27FC236}">
                <a16:creationId xmlns:a16="http://schemas.microsoft.com/office/drawing/2014/main" id="{711ED33C-46AC-0D10-67AC-30B69E17A6A0}"/>
              </a:ext>
            </a:extLst>
          </p:cNvPr>
          <p:cNvSpPr/>
          <p:nvPr/>
        </p:nvSpPr>
        <p:spPr>
          <a:xfrm>
            <a:off x="274607" y="-319334"/>
            <a:ext cx="2479040" cy="4437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581187-3F92-3443-1C0E-C9D24FF9D986}"/>
              </a:ext>
            </a:extLst>
          </p:cNvPr>
          <p:cNvSpPr/>
          <p:nvPr/>
        </p:nvSpPr>
        <p:spPr>
          <a:xfrm>
            <a:off x="0" y="5394960"/>
            <a:ext cx="12192000" cy="2743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C4A2F98-A995-446E-3565-74BF8EBA2575}"/>
              </a:ext>
            </a:extLst>
          </p:cNvPr>
          <p:cNvSpPr/>
          <p:nvPr/>
        </p:nvSpPr>
        <p:spPr>
          <a:xfrm>
            <a:off x="1356868" y="4869180"/>
            <a:ext cx="131064" cy="1325880"/>
          </a:xfrm>
          <a:prstGeom prst="roundRect">
            <a:avLst>
              <a:gd name="adj" fmla="val 41283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26" name="Picture 2" descr="Des champs de pommes de terre ont été cultivés sur l’avenue Foch, à Metz, vers 1942. L’avenue s’appelait alors Hermann-Goeringstrasse.   Archives RL/Photo Paul de Busson">
            <a:extLst>
              <a:ext uri="{FF2B5EF4-FFF2-40B4-BE49-F238E27FC236}">
                <a16:creationId xmlns:a16="http://schemas.microsoft.com/office/drawing/2014/main" id="{63CD4B3E-9CE0-FC09-4646-9C4656BB51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4" r="10784"/>
          <a:stretch/>
        </p:blipFill>
        <p:spPr bwMode="auto">
          <a:xfrm>
            <a:off x="3817717" y="653457"/>
            <a:ext cx="4556567" cy="3417425"/>
          </a:xfrm>
          <a:prstGeom prst="roundRect">
            <a:avLst>
              <a:gd name="adj" fmla="val 1091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9D7EB04-C994-ACAF-1C88-1ADC4D42CA9E}"/>
              </a:ext>
            </a:extLst>
          </p:cNvPr>
          <p:cNvSpPr txBox="1"/>
          <p:nvPr/>
        </p:nvSpPr>
        <p:spPr>
          <a:xfrm>
            <a:off x="3048965" y="4205495"/>
            <a:ext cx="609407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200" i="1" dirty="0"/>
              <a:t>Avenue Foch, Metz city centre, 194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992E24-D9A0-782D-5C27-FD250E37CC95}"/>
              </a:ext>
            </a:extLst>
          </p:cNvPr>
          <p:cNvSpPr txBox="1"/>
          <p:nvPr/>
        </p:nvSpPr>
        <p:spPr>
          <a:xfrm>
            <a:off x="8653682" y="2226808"/>
            <a:ext cx="296074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/>
              <a:t>Potatoes</a:t>
            </a:r>
            <a:r>
              <a:rPr lang="fr-FR" dirty="0"/>
              <a:t> in Metz city center,</a:t>
            </a:r>
          </a:p>
          <a:p>
            <a:r>
              <a:rPr lang="fr-FR" dirty="0" err="1"/>
              <a:t>During</a:t>
            </a:r>
            <a:r>
              <a:rPr lang="fr-FR" dirty="0"/>
              <a:t> WWII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3C52747-3781-0D56-8B5D-0321E9D63773}"/>
              </a:ext>
            </a:extLst>
          </p:cNvPr>
          <p:cNvCxnSpPr>
            <a:cxnSpLocks/>
          </p:cNvCxnSpPr>
          <p:nvPr/>
        </p:nvCxnSpPr>
        <p:spPr>
          <a:xfrm>
            <a:off x="7495442" y="2528606"/>
            <a:ext cx="1148080" cy="0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30849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1250">
        <p159:morph option="byObject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65">
            <a:extLst>
              <a:ext uri="{FF2B5EF4-FFF2-40B4-BE49-F238E27FC236}">
                <a16:creationId xmlns:a16="http://schemas.microsoft.com/office/drawing/2014/main" id="{4DB004B8-2CB1-B2F4-CF20-7A97B9A308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39" t="-30" r="11439" b="32098"/>
          <a:stretch/>
        </p:blipFill>
        <p:spPr>
          <a:xfrm>
            <a:off x="4917848" y="352924"/>
            <a:ext cx="2377440" cy="2094149"/>
          </a:xfrm>
          <a:prstGeom prst="teardrop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7834E04-2428-1EF5-CFB8-C05CC61C39BA}"/>
              </a:ext>
            </a:extLst>
          </p:cNvPr>
          <p:cNvCxnSpPr>
            <a:cxnSpLocks/>
          </p:cNvCxnSpPr>
          <p:nvPr/>
        </p:nvCxnSpPr>
        <p:spPr>
          <a:xfrm flipH="1">
            <a:off x="223913" y="5766320"/>
            <a:ext cx="4817939" cy="0"/>
          </a:xfrm>
          <a:prstGeom prst="line">
            <a:avLst/>
          </a:prstGeom>
          <a:ln w="57150">
            <a:solidFill>
              <a:srgbClr val="D9DE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FDD845B-D27C-B36C-4E92-2CC29544EC18}"/>
              </a:ext>
            </a:extLst>
          </p:cNvPr>
          <p:cNvCxnSpPr>
            <a:cxnSpLocks/>
          </p:cNvCxnSpPr>
          <p:nvPr/>
        </p:nvCxnSpPr>
        <p:spPr>
          <a:xfrm flipH="1">
            <a:off x="7150148" y="5766320"/>
            <a:ext cx="4817939" cy="0"/>
          </a:xfrm>
          <a:prstGeom prst="line">
            <a:avLst/>
          </a:prstGeom>
          <a:ln w="57150">
            <a:solidFill>
              <a:srgbClr val="D9DE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8309BBF-48FA-6980-72B9-42EAD8E1F32D}"/>
              </a:ext>
            </a:extLst>
          </p:cNvPr>
          <p:cNvCxnSpPr>
            <a:cxnSpLocks/>
          </p:cNvCxnSpPr>
          <p:nvPr/>
        </p:nvCxnSpPr>
        <p:spPr>
          <a:xfrm flipH="1">
            <a:off x="223913" y="4118602"/>
            <a:ext cx="4817939" cy="0"/>
          </a:xfrm>
          <a:prstGeom prst="line">
            <a:avLst/>
          </a:prstGeom>
          <a:ln w="57150">
            <a:solidFill>
              <a:srgbClr val="D9DE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B1567D9-0B5F-73EA-9882-DE67FD95187F}"/>
              </a:ext>
            </a:extLst>
          </p:cNvPr>
          <p:cNvCxnSpPr>
            <a:cxnSpLocks/>
          </p:cNvCxnSpPr>
          <p:nvPr/>
        </p:nvCxnSpPr>
        <p:spPr>
          <a:xfrm flipH="1">
            <a:off x="223913" y="2547484"/>
            <a:ext cx="4817939" cy="0"/>
          </a:xfrm>
          <a:prstGeom prst="line">
            <a:avLst/>
          </a:prstGeom>
          <a:ln w="57150">
            <a:solidFill>
              <a:srgbClr val="D9DE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688AAEE-3EB7-AE8B-8FF8-AE74C974DEDF}"/>
              </a:ext>
            </a:extLst>
          </p:cNvPr>
          <p:cNvCxnSpPr>
            <a:cxnSpLocks/>
          </p:cNvCxnSpPr>
          <p:nvPr/>
        </p:nvCxnSpPr>
        <p:spPr>
          <a:xfrm flipH="1">
            <a:off x="6965713" y="2547484"/>
            <a:ext cx="5002374" cy="0"/>
          </a:xfrm>
          <a:prstGeom prst="line">
            <a:avLst/>
          </a:prstGeom>
          <a:ln w="57150">
            <a:solidFill>
              <a:srgbClr val="D9DE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CBE982A-106E-390D-B619-51575E668D06}"/>
              </a:ext>
            </a:extLst>
          </p:cNvPr>
          <p:cNvCxnSpPr>
            <a:cxnSpLocks/>
          </p:cNvCxnSpPr>
          <p:nvPr/>
        </p:nvCxnSpPr>
        <p:spPr>
          <a:xfrm flipH="1">
            <a:off x="7428148" y="4118602"/>
            <a:ext cx="4539939" cy="0"/>
          </a:xfrm>
          <a:prstGeom prst="line">
            <a:avLst/>
          </a:prstGeom>
          <a:ln w="57150">
            <a:solidFill>
              <a:srgbClr val="D9DE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 16"/>
          <p:cNvSpPr>
            <a:spLocks/>
          </p:cNvSpPr>
          <p:nvPr/>
        </p:nvSpPr>
        <p:spPr bwMode="auto">
          <a:xfrm>
            <a:off x="6096000" y="2079647"/>
            <a:ext cx="1766407" cy="1541043"/>
          </a:xfrm>
          <a:custGeom>
            <a:avLst/>
            <a:gdLst>
              <a:gd name="T0" fmla="*/ 0 w 1120"/>
              <a:gd name="T1" fmla="*/ 0 h 975"/>
              <a:gd name="T2" fmla="*/ 0 w 1120"/>
              <a:gd name="T3" fmla="*/ 0 h 975"/>
              <a:gd name="T4" fmla="*/ 0 w 1120"/>
              <a:gd name="T5" fmla="*/ 0 h 975"/>
              <a:gd name="T6" fmla="*/ 46 w 1120"/>
              <a:gd name="T7" fmla="*/ 0 h 975"/>
              <a:gd name="T8" fmla="*/ 90 w 1120"/>
              <a:gd name="T9" fmla="*/ 2 h 975"/>
              <a:gd name="T10" fmla="*/ 132 w 1120"/>
              <a:gd name="T11" fmla="*/ 6 h 975"/>
              <a:gd name="T12" fmla="*/ 176 w 1120"/>
              <a:gd name="T13" fmla="*/ 12 h 975"/>
              <a:gd name="T14" fmla="*/ 219 w 1120"/>
              <a:gd name="T15" fmla="*/ 20 h 975"/>
              <a:gd name="T16" fmla="*/ 261 w 1120"/>
              <a:gd name="T17" fmla="*/ 27 h 975"/>
              <a:gd name="T18" fmla="*/ 303 w 1120"/>
              <a:gd name="T19" fmla="*/ 37 h 975"/>
              <a:gd name="T20" fmla="*/ 346 w 1120"/>
              <a:gd name="T21" fmla="*/ 46 h 975"/>
              <a:gd name="T22" fmla="*/ 386 w 1120"/>
              <a:gd name="T23" fmla="*/ 60 h 975"/>
              <a:gd name="T24" fmla="*/ 426 w 1120"/>
              <a:gd name="T25" fmla="*/ 73 h 975"/>
              <a:gd name="T26" fmla="*/ 467 w 1120"/>
              <a:gd name="T27" fmla="*/ 87 h 975"/>
              <a:gd name="T28" fmla="*/ 505 w 1120"/>
              <a:gd name="T29" fmla="*/ 104 h 975"/>
              <a:gd name="T30" fmla="*/ 544 w 1120"/>
              <a:gd name="T31" fmla="*/ 121 h 975"/>
              <a:gd name="T32" fmla="*/ 582 w 1120"/>
              <a:gd name="T33" fmla="*/ 139 h 975"/>
              <a:gd name="T34" fmla="*/ 619 w 1120"/>
              <a:gd name="T35" fmla="*/ 158 h 975"/>
              <a:gd name="T36" fmla="*/ 655 w 1120"/>
              <a:gd name="T37" fmla="*/ 179 h 975"/>
              <a:gd name="T38" fmla="*/ 690 w 1120"/>
              <a:gd name="T39" fmla="*/ 200 h 975"/>
              <a:gd name="T40" fmla="*/ 726 w 1120"/>
              <a:gd name="T41" fmla="*/ 223 h 975"/>
              <a:gd name="T42" fmla="*/ 759 w 1120"/>
              <a:gd name="T43" fmla="*/ 248 h 975"/>
              <a:gd name="T44" fmla="*/ 794 w 1120"/>
              <a:gd name="T45" fmla="*/ 273 h 975"/>
              <a:gd name="T46" fmla="*/ 824 w 1120"/>
              <a:gd name="T47" fmla="*/ 300 h 975"/>
              <a:gd name="T48" fmla="*/ 857 w 1120"/>
              <a:gd name="T49" fmla="*/ 327 h 975"/>
              <a:gd name="T50" fmla="*/ 888 w 1120"/>
              <a:gd name="T51" fmla="*/ 354 h 975"/>
              <a:gd name="T52" fmla="*/ 917 w 1120"/>
              <a:gd name="T53" fmla="*/ 382 h 975"/>
              <a:gd name="T54" fmla="*/ 945 w 1120"/>
              <a:gd name="T55" fmla="*/ 413 h 975"/>
              <a:gd name="T56" fmla="*/ 974 w 1120"/>
              <a:gd name="T57" fmla="*/ 444 h 975"/>
              <a:gd name="T58" fmla="*/ 1001 w 1120"/>
              <a:gd name="T59" fmla="*/ 476 h 975"/>
              <a:gd name="T60" fmla="*/ 1026 w 1120"/>
              <a:gd name="T61" fmla="*/ 509 h 975"/>
              <a:gd name="T62" fmla="*/ 1051 w 1120"/>
              <a:gd name="T63" fmla="*/ 542 h 975"/>
              <a:gd name="T64" fmla="*/ 1076 w 1120"/>
              <a:gd name="T65" fmla="*/ 576 h 975"/>
              <a:gd name="T66" fmla="*/ 1097 w 1120"/>
              <a:gd name="T67" fmla="*/ 611 h 975"/>
              <a:gd name="T68" fmla="*/ 1120 w 1120"/>
              <a:gd name="T69" fmla="*/ 647 h 975"/>
              <a:gd name="T70" fmla="*/ 1118 w 1120"/>
              <a:gd name="T71" fmla="*/ 647 h 975"/>
              <a:gd name="T72" fmla="*/ 899 w 1120"/>
              <a:gd name="T73" fmla="*/ 923 h 975"/>
              <a:gd name="T74" fmla="*/ 549 w 1120"/>
              <a:gd name="T75" fmla="*/ 975 h 975"/>
              <a:gd name="T76" fmla="*/ 553 w 1120"/>
              <a:gd name="T77" fmla="*/ 973 h 975"/>
              <a:gd name="T78" fmla="*/ 530 w 1120"/>
              <a:gd name="T79" fmla="*/ 937 h 975"/>
              <a:gd name="T80" fmla="*/ 507 w 1120"/>
              <a:gd name="T81" fmla="*/ 904 h 975"/>
              <a:gd name="T82" fmla="*/ 480 w 1120"/>
              <a:gd name="T83" fmla="*/ 874 h 975"/>
              <a:gd name="T84" fmla="*/ 453 w 1120"/>
              <a:gd name="T85" fmla="*/ 843 h 975"/>
              <a:gd name="T86" fmla="*/ 422 w 1120"/>
              <a:gd name="T87" fmla="*/ 814 h 975"/>
              <a:gd name="T88" fmla="*/ 392 w 1120"/>
              <a:gd name="T89" fmla="*/ 789 h 975"/>
              <a:gd name="T90" fmla="*/ 359 w 1120"/>
              <a:gd name="T91" fmla="*/ 764 h 975"/>
              <a:gd name="T92" fmla="*/ 322 w 1120"/>
              <a:gd name="T93" fmla="*/ 741 h 975"/>
              <a:gd name="T94" fmla="*/ 288 w 1120"/>
              <a:gd name="T95" fmla="*/ 722 h 975"/>
              <a:gd name="T96" fmla="*/ 249 w 1120"/>
              <a:gd name="T97" fmla="*/ 705 h 975"/>
              <a:gd name="T98" fmla="*/ 211 w 1120"/>
              <a:gd name="T99" fmla="*/ 689 h 975"/>
              <a:gd name="T100" fmla="*/ 171 w 1120"/>
              <a:gd name="T101" fmla="*/ 676 h 975"/>
              <a:gd name="T102" fmla="*/ 128 w 1120"/>
              <a:gd name="T103" fmla="*/ 666 h 975"/>
              <a:gd name="T104" fmla="*/ 86 w 1120"/>
              <a:gd name="T105" fmla="*/ 659 h 975"/>
              <a:gd name="T106" fmla="*/ 44 w 1120"/>
              <a:gd name="T107" fmla="*/ 655 h 975"/>
              <a:gd name="T108" fmla="*/ 0 w 1120"/>
              <a:gd name="T109" fmla="*/ 653 h 975"/>
              <a:gd name="T110" fmla="*/ 0 w 1120"/>
              <a:gd name="T111" fmla="*/ 653 h 975"/>
              <a:gd name="T112" fmla="*/ 0 w 1120"/>
              <a:gd name="T113" fmla="*/ 653 h 975"/>
              <a:gd name="T114" fmla="*/ 128 w 1120"/>
              <a:gd name="T115" fmla="*/ 327 h 975"/>
              <a:gd name="T116" fmla="*/ 0 w 1120"/>
              <a:gd name="T117" fmla="*/ 0 h 97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20"/>
              <a:gd name="T178" fmla="*/ 0 h 975"/>
              <a:gd name="T179" fmla="*/ 1120 w 1120"/>
              <a:gd name="T180" fmla="*/ 975 h 97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20" h="975">
                <a:moveTo>
                  <a:pt x="0" y="0"/>
                </a:moveTo>
                <a:lnTo>
                  <a:pt x="0" y="0"/>
                </a:lnTo>
                <a:lnTo>
                  <a:pt x="46" y="0"/>
                </a:lnTo>
                <a:lnTo>
                  <a:pt x="90" y="2"/>
                </a:lnTo>
                <a:lnTo>
                  <a:pt x="132" y="6"/>
                </a:lnTo>
                <a:lnTo>
                  <a:pt x="176" y="12"/>
                </a:lnTo>
                <a:lnTo>
                  <a:pt x="219" y="20"/>
                </a:lnTo>
                <a:lnTo>
                  <a:pt x="261" y="27"/>
                </a:lnTo>
                <a:lnTo>
                  <a:pt x="303" y="37"/>
                </a:lnTo>
                <a:lnTo>
                  <a:pt x="346" y="46"/>
                </a:lnTo>
                <a:lnTo>
                  <a:pt x="386" y="60"/>
                </a:lnTo>
                <a:lnTo>
                  <a:pt x="426" y="73"/>
                </a:lnTo>
                <a:lnTo>
                  <a:pt x="467" y="87"/>
                </a:lnTo>
                <a:lnTo>
                  <a:pt x="505" y="104"/>
                </a:lnTo>
                <a:lnTo>
                  <a:pt x="544" y="121"/>
                </a:lnTo>
                <a:lnTo>
                  <a:pt x="582" y="139"/>
                </a:lnTo>
                <a:lnTo>
                  <a:pt x="619" y="158"/>
                </a:lnTo>
                <a:lnTo>
                  <a:pt x="655" y="179"/>
                </a:lnTo>
                <a:lnTo>
                  <a:pt x="690" y="200"/>
                </a:lnTo>
                <a:lnTo>
                  <a:pt x="726" y="223"/>
                </a:lnTo>
                <a:lnTo>
                  <a:pt x="759" y="248"/>
                </a:lnTo>
                <a:lnTo>
                  <a:pt x="794" y="273"/>
                </a:lnTo>
                <a:lnTo>
                  <a:pt x="824" y="300"/>
                </a:lnTo>
                <a:lnTo>
                  <a:pt x="857" y="327"/>
                </a:lnTo>
                <a:lnTo>
                  <a:pt x="888" y="354"/>
                </a:lnTo>
                <a:lnTo>
                  <a:pt x="917" y="382"/>
                </a:lnTo>
                <a:lnTo>
                  <a:pt x="945" y="413"/>
                </a:lnTo>
                <a:lnTo>
                  <a:pt x="974" y="444"/>
                </a:lnTo>
                <a:lnTo>
                  <a:pt x="1001" y="476"/>
                </a:lnTo>
                <a:lnTo>
                  <a:pt x="1026" y="509"/>
                </a:lnTo>
                <a:lnTo>
                  <a:pt x="1051" y="542"/>
                </a:lnTo>
                <a:lnTo>
                  <a:pt x="1076" y="576"/>
                </a:lnTo>
                <a:lnTo>
                  <a:pt x="1097" y="611"/>
                </a:lnTo>
                <a:lnTo>
                  <a:pt x="1120" y="647"/>
                </a:lnTo>
                <a:lnTo>
                  <a:pt x="1118" y="647"/>
                </a:lnTo>
                <a:lnTo>
                  <a:pt x="899" y="923"/>
                </a:lnTo>
                <a:lnTo>
                  <a:pt x="549" y="975"/>
                </a:lnTo>
                <a:lnTo>
                  <a:pt x="553" y="973"/>
                </a:lnTo>
                <a:lnTo>
                  <a:pt x="530" y="937"/>
                </a:lnTo>
                <a:lnTo>
                  <a:pt x="507" y="904"/>
                </a:lnTo>
                <a:lnTo>
                  <a:pt x="480" y="874"/>
                </a:lnTo>
                <a:lnTo>
                  <a:pt x="453" y="843"/>
                </a:lnTo>
                <a:lnTo>
                  <a:pt x="422" y="814"/>
                </a:lnTo>
                <a:lnTo>
                  <a:pt x="392" y="789"/>
                </a:lnTo>
                <a:lnTo>
                  <a:pt x="359" y="764"/>
                </a:lnTo>
                <a:lnTo>
                  <a:pt x="322" y="741"/>
                </a:lnTo>
                <a:lnTo>
                  <a:pt x="288" y="722"/>
                </a:lnTo>
                <a:lnTo>
                  <a:pt x="249" y="705"/>
                </a:lnTo>
                <a:lnTo>
                  <a:pt x="211" y="689"/>
                </a:lnTo>
                <a:lnTo>
                  <a:pt x="171" y="676"/>
                </a:lnTo>
                <a:lnTo>
                  <a:pt x="128" y="666"/>
                </a:lnTo>
                <a:lnTo>
                  <a:pt x="86" y="659"/>
                </a:lnTo>
                <a:lnTo>
                  <a:pt x="44" y="655"/>
                </a:lnTo>
                <a:lnTo>
                  <a:pt x="0" y="653"/>
                </a:lnTo>
                <a:lnTo>
                  <a:pt x="128" y="327"/>
                </a:lnTo>
                <a:lnTo>
                  <a:pt x="0" y="0"/>
                </a:ln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/>
            <a:endParaRPr lang="en-US" sz="4000" dirty="0">
              <a:solidFill>
                <a:srgbClr val="4B5564"/>
              </a:solidFill>
              <a:latin typeface="TKTypeMedium"/>
              <a:cs typeface="Arial" charset="0"/>
            </a:endParaRPr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6965713" y="3101719"/>
            <a:ext cx="1169670" cy="2040970"/>
          </a:xfrm>
          <a:custGeom>
            <a:avLst/>
            <a:gdLst>
              <a:gd name="T0" fmla="*/ 569 w 742"/>
              <a:gd name="T1" fmla="*/ 0 h 1292"/>
              <a:gd name="T2" fmla="*/ 589 w 742"/>
              <a:gd name="T3" fmla="*/ 37 h 1292"/>
              <a:gd name="T4" fmla="*/ 625 w 742"/>
              <a:gd name="T5" fmla="*/ 110 h 1292"/>
              <a:gd name="T6" fmla="*/ 658 w 742"/>
              <a:gd name="T7" fmla="*/ 186 h 1292"/>
              <a:gd name="T8" fmla="*/ 685 w 742"/>
              <a:gd name="T9" fmla="*/ 265 h 1292"/>
              <a:gd name="T10" fmla="*/ 708 w 742"/>
              <a:gd name="T11" fmla="*/ 347 h 1292"/>
              <a:gd name="T12" fmla="*/ 725 w 742"/>
              <a:gd name="T13" fmla="*/ 430 h 1292"/>
              <a:gd name="T14" fmla="*/ 737 w 742"/>
              <a:gd name="T15" fmla="*/ 514 h 1292"/>
              <a:gd name="T16" fmla="*/ 742 w 742"/>
              <a:gd name="T17" fmla="*/ 601 h 1292"/>
              <a:gd name="T18" fmla="*/ 742 w 742"/>
              <a:gd name="T19" fmla="*/ 689 h 1292"/>
              <a:gd name="T20" fmla="*/ 737 w 742"/>
              <a:gd name="T21" fmla="*/ 775 h 1292"/>
              <a:gd name="T22" fmla="*/ 725 w 742"/>
              <a:gd name="T23" fmla="*/ 862 h 1292"/>
              <a:gd name="T24" fmla="*/ 708 w 742"/>
              <a:gd name="T25" fmla="*/ 944 h 1292"/>
              <a:gd name="T26" fmla="*/ 685 w 742"/>
              <a:gd name="T27" fmla="*/ 1025 h 1292"/>
              <a:gd name="T28" fmla="*/ 658 w 742"/>
              <a:gd name="T29" fmla="*/ 1104 h 1292"/>
              <a:gd name="T30" fmla="*/ 625 w 742"/>
              <a:gd name="T31" fmla="*/ 1180 h 1292"/>
              <a:gd name="T32" fmla="*/ 589 w 742"/>
              <a:gd name="T33" fmla="*/ 1255 h 1292"/>
              <a:gd name="T34" fmla="*/ 569 w 742"/>
              <a:gd name="T35" fmla="*/ 1292 h 1292"/>
              <a:gd name="T36" fmla="*/ 569 w 742"/>
              <a:gd name="T37" fmla="*/ 1292 h 1292"/>
              <a:gd name="T38" fmla="*/ 567 w 742"/>
              <a:gd name="T39" fmla="*/ 1290 h 1292"/>
              <a:gd name="T40" fmla="*/ 221 w 742"/>
              <a:gd name="T41" fmla="*/ 1240 h 1292"/>
              <a:gd name="T42" fmla="*/ 2 w 742"/>
              <a:gd name="T43" fmla="*/ 965 h 1292"/>
              <a:gd name="T44" fmla="*/ 2 w 742"/>
              <a:gd name="T45" fmla="*/ 965 h 1292"/>
              <a:gd name="T46" fmla="*/ 0 w 742"/>
              <a:gd name="T47" fmla="*/ 963 h 1292"/>
              <a:gd name="T48" fmla="*/ 21 w 742"/>
              <a:gd name="T49" fmla="*/ 929 h 1292"/>
              <a:gd name="T50" fmla="*/ 54 w 742"/>
              <a:gd name="T51" fmla="*/ 852 h 1292"/>
              <a:gd name="T52" fmla="*/ 75 w 742"/>
              <a:gd name="T53" fmla="*/ 772 h 1292"/>
              <a:gd name="T54" fmla="*/ 87 w 742"/>
              <a:gd name="T55" fmla="*/ 689 h 1292"/>
              <a:gd name="T56" fmla="*/ 87 w 742"/>
              <a:gd name="T57" fmla="*/ 603 h 1292"/>
              <a:gd name="T58" fmla="*/ 75 w 742"/>
              <a:gd name="T59" fmla="*/ 518 h 1292"/>
              <a:gd name="T60" fmla="*/ 54 w 742"/>
              <a:gd name="T61" fmla="*/ 438 h 1292"/>
              <a:gd name="T62" fmla="*/ 21 w 742"/>
              <a:gd name="T63" fmla="*/ 363 h 1292"/>
              <a:gd name="T64" fmla="*/ 348 w 742"/>
              <a:gd name="T65" fmla="*/ 276 h 1292"/>
              <a:gd name="T66" fmla="*/ 569 w 742"/>
              <a:gd name="T67" fmla="*/ 0 h 129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742"/>
              <a:gd name="T103" fmla="*/ 0 h 1292"/>
              <a:gd name="T104" fmla="*/ 742 w 742"/>
              <a:gd name="T105" fmla="*/ 1292 h 1292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742" h="1292">
                <a:moveTo>
                  <a:pt x="569" y="0"/>
                </a:moveTo>
                <a:lnTo>
                  <a:pt x="569" y="0"/>
                </a:lnTo>
                <a:lnTo>
                  <a:pt x="589" y="37"/>
                </a:lnTo>
                <a:lnTo>
                  <a:pt x="608" y="73"/>
                </a:lnTo>
                <a:lnTo>
                  <a:pt x="625" y="110"/>
                </a:lnTo>
                <a:lnTo>
                  <a:pt x="642" y="148"/>
                </a:lnTo>
                <a:lnTo>
                  <a:pt x="658" y="186"/>
                </a:lnTo>
                <a:lnTo>
                  <a:pt x="671" y="227"/>
                </a:lnTo>
                <a:lnTo>
                  <a:pt x="685" y="265"/>
                </a:lnTo>
                <a:lnTo>
                  <a:pt x="696" y="305"/>
                </a:lnTo>
                <a:lnTo>
                  <a:pt x="708" y="347"/>
                </a:lnTo>
                <a:lnTo>
                  <a:pt x="717" y="388"/>
                </a:lnTo>
                <a:lnTo>
                  <a:pt x="725" y="430"/>
                </a:lnTo>
                <a:lnTo>
                  <a:pt x="731" y="472"/>
                </a:lnTo>
                <a:lnTo>
                  <a:pt x="737" y="514"/>
                </a:lnTo>
                <a:lnTo>
                  <a:pt x="740" y="559"/>
                </a:lnTo>
                <a:lnTo>
                  <a:pt x="742" y="601"/>
                </a:lnTo>
                <a:lnTo>
                  <a:pt x="742" y="645"/>
                </a:lnTo>
                <a:lnTo>
                  <a:pt x="742" y="689"/>
                </a:lnTo>
                <a:lnTo>
                  <a:pt x="740" y="733"/>
                </a:lnTo>
                <a:lnTo>
                  <a:pt x="737" y="775"/>
                </a:lnTo>
                <a:lnTo>
                  <a:pt x="731" y="820"/>
                </a:lnTo>
                <a:lnTo>
                  <a:pt x="725" y="862"/>
                </a:lnTo>
                <a:lnTo>
                  <a:pt x="717" y="902"/>
                </a:lnTo>
                <a:lnTo>
                  <a:pt x="708" y="944"/>
                </a:lnTo>
                <a:lnTo>
                  <a:pt x="696" y="985"/>
                </a:lnTo>
                <a:lnTo>
                  <a:pt x="685" y="1025"/>
                </a:lnTo>
                <a:lnTo>
                  <a:pt x="673" y="1065"/>
                </a:lnTo>
                <a:lnTo>
                  <a:pt x="658" y="1104"/>
                </a:lnTo>
                <a:lnTo>
                  <a:pt x="642" y="1142"/>
                </a:lnTo>
                <a:lnTo>
                  <a:pt x="625" y="1180"/>
                </a:lnTo>
                <a:lnTo>
                  <a:pt x="608" y="1219"/>
                </a:lnTo>
                <a:lnTo>
                  <a:pt x="589" y="1255"/>
                </a:lnTo>
                <a:lnTo>
                  <a:pt x="569" y="1290"/>
                </a:lnTo>
                <a:lnTo>
                  <a:pt x="569" y="1292"/>
                </a:lnTo>
                <a:lnTo>
                  <a:pt x="567" y="1290"/>
                </a:lnTo>
                <a:lnTo>
                  <a:pt x="394" y="1265"/>
                </a:lnTo>
                <a:lnTo>
                  <a:pt x="221" y="1240"/>
                </a:lnTo>
                <a:lnTo>
                  <a:pt x="112" y="1102"/>
                </a:lnTo>
                <a:lnTo>
                  <a:pt x="2" y="965"/>
                </a:lnTo>
                <a:lnTo>
                  <a:pt x="0" y="963"/>
                </a:lnTo>
                <a:lnTo>
                  <a:pt x="2" y="963"/>
                </a:lnTo>
                <a:lnTo>
                  <a:pt x="21" y="929"/>
                </a:lnTo>
                <a:lnTo>
                  <a:pt x="39" y="891"/>
                </a:lnTo>
                <a:lnTo>
                  <a:pt x="54" y="852"/>
                </a:lnTo>
                <a:lnTo>
                  <a:pt x="66" y="814"/>
                </a:lnTo>
                <a:lnTo>
                  <a:pt x="75" y="772"/>
                </a:lnTo>
                <a:lnTo>
                  <a:pt x="83" y="731"/>
                </a:lnTo>
                <a:lnTo>
                  <a:pt x="87" y="689"/>
                </a:lnTo>
                <a:lnTo>
                  <a:pt x="89" y="645"/>
                </a:lnTo>
                <a:lnTo>
                  <a:pt x="87" y="603"/>
                </a:lnTo>
                <a:lnTo>
                  <a:pt x="83" y="560"/>
                </a:lnTo>
                <a:lnTo>
                  <a:pt x="75" y="518"/>
                </a:lnTo>
                <a:lnTo>
                  <a:pt x="66" y="478"/>
                </a:lnTo>
                <a:lnTo>
                  <a:pt x="54" y="438"/>
                </a:lnTo>
                <a:lnTo>
                  <a:pt x="39" y="399"/>
                </a:lnTo>
                <a:lnTo>
                  <a:pt x="21" y="363"/>
                </a:lnTo>
                <a:lnTo>
                  <a:pt x="2" y="326"/>
                </a:lnTo>
                <a:lnTo>
                  <a:pt x="348" y="276"/>
                </a:lnTo>
                <a:lnTo>
                  <a:pt x="567" y="0"/>
                </a:lnTo>
                <a:lnTo>
                  <a:pt x="569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marL="95250" algn="ctr"/>
            <a:endParaRPr lang="en-US" sz="4000" dirty="0">
              <a:solidFill>
                <a:srgbClr val="4B5564"/>
              </a:solidFill>
              <a:latin typeface="TKTypeMedium"/>
              <a:cs typeface="Arial" charset="0"/>
            </a:endParaRPr>
          </a:p>
        </p:txBody>
      </p:sp>
      <p:sp>
        <p:nvSpPr>
          <p:cNvPr id="20" name="Freeform 20"/>
          <p:cNvSpPr>
            <a:spLocks/>
          </p:cNvSpPr>
          <p:nvPr/>
        </p:nvSpPr>
        <p:spPr bwMode="auto">
          <a:xfrm>
            <a:off x="4056618" y="3101719"/>
            <a:ext cx="1169669" cy="2040970"/>
          </a:xfrm>
          <a:custGeom>
            <a:avLst/>
            <a:gdLst>
              <a:gd name="T0" fmla="*/ 173 w 742"/>
              <a:gd name="T1" fmla="*/ 1292 h 1292"/>
              <a:gd name="T2" fmla="*/ 173 w 742"/>
              <a:gd name="T3" fmla="*/ 1290 h 1292"/>
              <a:gd name="T4" fmla="*/ 171 w 742"/>
              <a:gd name="T5" fmla="*/ 1290 h 1292"/>
              <a:gd name="T6" fmla="*/ 150 w 742"/>
              <a:gd name="T7" fmla="*/ 1251 h 1292"/>
              <a:gd name="T8" fmla="*/ 130 w 742"/>
              <a:gd name="T9" fmla="*/ 1211 h 1292"/>
              <a:gd name="T10" fmla="*/ 111 w 742"/>
              <a:gd name="T11" fmla="*/ 1173 h 1292"/>
              <a:gd name="T12" fmla="*/ 94 w 742"/>
              <a:gd name="T13" fmla="*/ 1132 h 1292"/>
              <a:gd name="T14" fmla="*/ 78 w 742"/>
              <a:gd name="T15" fmla="*/ 1092 h 1292"/>
              <a:gd name="T16" fmla="*/ 65 w 742"/>
              <a:gd name="T17" fmla="*/ 1052 h 1292"/>
              <a:gd name="T18" fmla="*/ 52 w 742"/>
              <a:gd name="T19" fmla="*/ 1010 h 1292"/>
              <a:gd name="T20" fmla="*/ 40 w 742"/>
              <a:gd name="T21" fmla="*/ 969 h 1292"/>
              <a:gd name="T22" fmla="*/ 30 w 742"/>
              <a:gd name="T23" fmla="*/ 927 h 1292"/>
              <a:gd name="T24" fmla="*/ 21 w 742"/>
              <a:gd name="T25" fmla="*/ 887 h 1292"/>
              <a:gd name="T26" fmla="*/ 15 w 742"/>
              <a:gd name="T27" fmla="*/ 844 h 1292"/>
              <a:gd name="T28" fmla="*/ 9 w 742"/>
              <a:gd name="T29" fmla="*/ 802 h 1292"/>
              <a:gd name="T30" fmla="*/ 3 w 742"/>
              <a:gd name="T31" fmla="*/ 760 h 1292"/>
              <a:gd name="T32" fmla="*/ 2 w 742"/>
              <a:gd name="T33" fmla="*/ 718 h 1292"/>
              <a:gd name="T34" fmla="*/ 0 w 742"/>
              <a:gd name="T35" fmla="*/ 678 h 1292"/>
              <a:gd name="T36" fmla="*/ 0 w 742"/>
              <a:gd name="T37" fmla="*/ 635 h 1292"/>
              <a:gd name="T38" fmla="*/ 2 w 742"/>
              <a:gd name="T39" fmla="*/ 593 h 1292"/>
              <a:gd name="T40" fmla="*/ 3 w 742"/>
              <a:gd name="T41" fmla="*/ 551 h 1292"/>
              <a:gd name="T42" fmla="*/ 7 w 742"/>
              <a:gd name="T43" fmla="*/ 511 h 1292"/>
              <a:gd name="T44" fmla="*/ 11 w 742"/>
              <a:gd name="T45" fmla="*/ 468 h 1292"/>
              <a:gd name="T46" fmla="*/ 19 w 742"/>
              <a:gd name="T47" fmla="*/ 428 h 1292"/>
              <a:gd name="T48" fmla="*/ 27 w 742"/>
              <a:gd name="T49" fmla="*/ 388 h 1292"/>
              <a:gd name="T50" fmla="*/ 34 w 742"/>
              <a:gd name="T51" fmla="*/ 347 h 1292"/>
              <a:gd name="T52" fmla="*/ 46 w 742"/>
              <a:gd name="T53" fmla="*/ 307 h 1292"/>
              <a:gd name="T54" fmla="*/ 57 w 742"/>
              <a:gd name="T55" fmla="*/ 267 h 1292"/>
              <a:gd name="T56" fmla="*/ 69 w 742"/>
              <a:gd name="T57" fmla="*/ 227 h 1292"/>
              <a:gd name="T58" fmla="*/ 84 w 742"/>
              <a:gd name="T59" fmla="*/ 188 h 1292"/>
              <a:gd name="T60" fmla="*/ 100 w 742"/>
              <a:gd name="T61" fmla="*/ 150 h 1292"/>
              <a:gd name="T62" fmla="*/ 115 w 742"/>
              <a:gd name="T63" fmla="*/ 111 h 1292"/>
              <a:gd name="T64" fmla="*/ 134 w 742"/>
              <a:gd name="T65" fmla="*/ 73 h 1292"/>
              <a:gd name="T66" fmla="*/ 153 w 742"/>
              <a:gd name="T67" fmla="*/ 37 h 1292"/>
              <a:gd name="T68" fmla="*/ 173 w 742"/>
              <a:gd name="T69" fmla="*/ 0 h 1292"/>
              <a:gd name="T70" fmla="*/ 175 w 742"/>
              <a:gd name="T71" fmla="*/ 0 h 1292"/>
              <a:gd name="T72" fmla="*/ 523 w 742"/>
              <a:gd name="T73" fmla="*/ 52 h 1292"/>
              <a:gd name="T74" fmla="*/ 742 w 742"/>
              <a:gd name="T75" fmla="*/ 328 h 1292"/>
              <a:gd name="T76" fmla="*/ 740 w 742"/>
              <a:gd name="T77" fmla="*/ 326 h 1292"/>
              <a:gd name="T78" fmla="*/ 721 w 742"/>
              <a:gd name="T79" fmla="*/ 363 h 1292"/>
              <a:gd name="T80" fmla="*/ 703 w 742"/>
              <a:gd name="T81" fmla="*/ 399 h 1292"/>
              <a:gd name="T82" fmla="*/ 688 w 742"/>
              <a:gd name="T83" fmla="*/ 438 h 1292"/>
              <a:gd name="T84" fmla="*/ 676 w 742"/>
              <a:gd name="T85" fmla="*/ 478 h 1292"/>
              <a:gd name="T86" fmla="*/ 667 w 742"/>
              <a:gd name="T87" fmla="*/ 518 h 1292"/>
              <a:gd name="T88" fmla="*/ 659 w 742"/>
              <a:gd name="T89" fmla="*/ 559 h 1292"/>
              <a:gd name="T90" fmla="*/ 655 w 742"/>
              <a:gd name="T91" fmla="*/ 599 h 1292"/>
              <a:gd name="T92" fmla="*/ 653 w 742"/>
              <a:gd name="T93" fmla="*/ 641 h 1292"/>
              <a:gd name="T94" fmla="*/ 655 w 742"/>
              <a:gd name="T95" fmla="*/ 681 h 1292"/>
              <a:gd name="T96" fmla="*/ 657 w 742"/>
              <a:gd name="T97" fmla="*/ 724 h 1292"/>
              <a:gd name="T98" fmla="*/ 665 w 742"/>
              <a:gd name="T99" fmla="*/ 764 h 1292"/>
              <a:gd name="T100" fmla="*/ 673 w 742"/>
              <a:gd name="T101" fmla="*/ 804 h 1292"/>
              <a:gd name="T102" fmla="*/ 686 w 742"/>
              <a:gd name="T103" fmla="*/ 846 h 1292"/>
              <a:gd name="T104" fmla="*/ 699 w 742"/>
              <a:gd name="T105" fmla="*/ 887 h 1292"/>
              <a:gd name="T106" fmla="*/ 719 w 742"/>
              <a:gd name="T107" fmla="*/ 925 h 1292"/>
              <a:gd name="T108" fmla="*/ 738 w 742"/>
              <a:gd name="T109" fmla="*/ 963 h 1292"/>
              <a:gd name="T110" fmla="*/ 738 w 742"/>
              <a:gd name="T111" fmla="*/ 963 h 1292"/>
              <a:gd name="T112" fmla="*/ 738 w 742"/>
              <a:gd name="T113" fmla="*/ 963 h 1292"/>
              <a:gd name="T114" fmla="*/ 392 w 742"/>
              <a:gd name="T115" fmla="*/ 1015 h 1292"/>
              <a:gd name="T116" fmla="*/ 173 w 742"/>
              <a:gd name="T117" fmla="*/ 1292 h 129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742"/>
              <a:gd name="T178" fmla="*/ 0 h 1292"/>
              <a:gd name="T179" fmla="*/ 742 w 742"/>
              <a:gd name="T180" fmla="*/ 1292 h 129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742" h="1292">
                <a:moveTo>
                  <a:pt x="173" y="1292"/>
                </a:moveTo>
                <a:lnTo>
                  <a:pt x="173" y="1290"/>
                </a:lnTo>
                <a:lnTo>
                  <a:pt x="171" y="1290"/>
                </a:lnTo>
                <a:lnTo>
                  <a:pt x="150" y="1251"/>
                </a:lnTo>
                <a:lnTo>
                  <a:pt x="130" y="1211"/>
                </a:lnTo>
                <a:lnTo>
                  <a:pt x="111" y="1173"/>
                </a:lnTo>
                <a:lnTo>
                  <a:pt x="94" y="1132"/>
                </a:lnTo>
                <a:lnTo>
                  <a:pt x="78" y="1092"/>
                </a:lnTo>
                <a:lnTo>
                  <a:pt x="65" y="1052"/>
                </a:lnTo>
                <a:lnTo>
                  <a:pt x="52" y="1010"/>
                </a:lnTo>
                <a:lnTo>
                  <a:pt x="40" y="969"/>
                </a:lnTo>
                <a:lnTo>
                  <a:pt x="30" y="927"/>
                </a:lnTo>
                <a:lnTo>
                  <a:pt x="21" y="887"/>
                </a:lnTo>
                <a:lnTo>
                  <a:pt x="15" y="844"/>
                </a:lnTo>
                <a:lnTo>
                  <a:pt x="9" y="802"/>
                </a:lnTo>
                <a:lnTo>
                  <a:pt x="3" y="760"/>
                </a:lnTo>
                <a:lnTo>
                  <a:pt x="2" y="718"/>
                </a:lnTo>
                <a:lnTo>
                  <a:pt x="0" y="678"/>
                </a:lnTo>
                <a:lnTo>
                  <a:pt x="0" y="635"/>
                </a:lnTo>
                <a:lnTo>
                  <a:pt x="2" y="593"/>
                </a:lnTo>
                <a:lnTo>
                  <a:pt x="3" y="551"/>
                </a:lnTo>
                <a:lnTo>
                  <a:pt x="7" y="511"/>
                </a:lnTo>
                <a:lnTo>
                  <a:pt x="11" y="468"/>
                </a:lnTo>
                <a:lnTo>
                  <a:pt x="19" y="428"/>
                </a:lnTo>
                <a:lnTo>
                  <a:pt x="27" y="388"/>
                </a:lnTo>
                <a:lnTo>
                  <a:pt x="34" y="347"/>
                </a:lnTo>
                <a:lnTo>
                  <a:pt x="46" y="307"/>
                </a:lnTo>
                <a:lnTo>
                  <a:pt x="57" y="267"/>
                </a:lnTo>
                <a:lnTo>
                  <a:pt x="69" y="227"/>
                </a:lnTo>
                <a:lnTo>
                  <a:pt x="84" y="188"/>
                </a:lnTo>
                <a:lnTo>
                  <a:pt x="100" y="150"/>
                </a:lnTo>
                <a:lnTo>
                  <a:pt x="115" y="111"/>
                </a:lnTo>
                <a:lnTo>
                  <a:pt x="134" y="73"/>
                </a:lnTo>
                <a:lnTo>
                  <a:pt x="153" y="37"/>
                </a:lnTo>
                <a:lnTo>
                  <a:pt x="173" y="0"/>
                </a:lnTo>
                <a:lnTo>
                  <a:pt x="175" y="0"/>
                </a:lnTo>
                <a:lnTo>
                  <a:pt x="523" y="52"/>
                </a:lnTo>
                <a:lnTo>
                  <a:pt x="742" y="328"/>
                </a:lnTo>
                <a:lnTo>
                  <a:pt x="740" y="326"/>
                </a:lnTo>
                <a:lnTo>
                  <a:pt x="721" y="363"/>
                </a:lnTo>
                <a:lnTo>
                  <a:pt x="703" y="399"/>
                </a:lnTo>
                <a:lnTo>
                  <a:pt x="688" y="438"/>
                </a:lnTo>
                <a:lnTo>
                  <a:pt x="676" y="478"/>
                </a:lnTo>
                <a:lnTo>
                  <a:pt x="667" y="518"/>
                </a:lnTo>
                <a:lnTo>
                  <a:pt x="659" y="559"/>
                </a:lnTo>
                <a:lnTo>
                  <a:pt x="655" y="599"/>
                </a:lnTo>
                <a:lnTo>
                  <a:pt x="653" y="641"/>
                </a:lnTo>
                <a:lnTo>
                  <a:pt x="655" y="681"/>
                </a:lnTo>
                <a:lnTo>
                  <a:pt x="657" y="724"/>
                </a:lnTo>
                <a:lnTo>
                  <a:pt x="665" y="764"/>
                </a:lnTo>
                <a:lnTo>
                  <a:pt x="673" y="804"/>
                </a:lnTo>
                <a:lnTo>
                  <a:pt x="686" y="846"/>
                </a:lnTo>
                <a:lnTo>
                  <a:pt x="699" y="887"/>
                </a:lnTo>
                <a:lnTo>
                  <a:pt x="719" y="925"/>
                </a:lnTo>
                <a:lnTo>
                  <a:pt x="738" y="963"/>
                </a:lnTo>
                <a:lnTo>
                  <a:pt x="392" y="1015"/>
                </a:lnTo>
                <a:lnTo>
                  <a:pt x="173" y="1292"/>
                </a:lnTo>
              </a:path>
            </a:pathLst>
          </a:custGeom>
          <a:solidFill>
            <a:schemeClr val="accent6">
              <a:lumMod val="75000"/>
            </a:schemeClr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marL="177800" algn="ctr"/>
            <a:endParaRPr lang="en-US" sz="4000" dirty="0">
              <a:solidFill>
                <a:srgbClr val="4B5564"/>
              </a:solidFill>
              <a:latin typeface="TKTypeMedium"/>
              <a:cs typeface="Arial" charset="0"/>
            </a:endParaRPr>
          </a:p>
        </p:txBody>
      </p:sp>
      <p:sp>
        <p:nvSpPr>
          <p:cNvPr id="21" name="Freeform 22"/>
          <p:cNvSpPr>
            <a:spLocks/>
          </p:cNvSpPr>
          <p:nvPr/>
        </p:nvSpPr>
        <p:spPr bwMode="auto">
          <a:xfrm>
            <a:off x="4329594" y="2079647"/>
            <a:ext cx="1969551" cy="1534695"/>
          </a:xfrm>
          <a:custGeom>
            <a:avLst/>
            <a:gdLst>
              <a:gd name="T0" fmla="*/ 0 w 1249"/>
              <a:gd name="T1" fmla="*/ 647 h 971"/>
              <a:gd name="T2" fmla="*/ 21 w 1249"/>
              <a:gd name="T3" fmla="*/ 611 h 971"/>
              <a:gd name="T4" fmla="*/ 67 w 1249"/>
              <a:gd name="T5" fmla="*/ 542 h 971"/>
              <a:gd name="T6" fmla="*/ 117 w 1249"/>
              <a:gd name="T7" fmla="*/ 476 h 971"/>
              <a:gd name="T8" fmla="*/ 173 w 1249"/>
              <a:gd name="T9" fmla="*/ 413 h 971"/>
              <a:gd name="T10" fmla="*/ 232 w 1249"/>
              <a:gd name="T11" fmla="*/ 354 h 971"/>
              <a:gd name="T12" fmla="*/ 296 w 1249"/>
              <a:gd name="T13" fmla="*/ 296 h 971"/>
              <a:gd name="T14" fmla="*/ 363 w 1249"/>
              <a:gd name="T15" fmla="*/ 244 h 971"/>
              <a:gd name="T16" fmla="*/ 436 w 1249"/>
              <a:gd name="T17" fmla="*/ 196 h 971"/>
              <a:gd name="T18" fmla="*/ 511 w 1249"/>
              <a:gd name="T19" fmla="*/ 152 h 971"/>
              <a:gd name="T20" fmla="*/ 590 w 1249"/>
              <a:gd name="T21" fmla="*/ 114 h 971"/>
              <a:gd name="T22" fmla="*/ 669 w 1249"/>
              <a:gd name="T23" fmla="*/ 81 h 971"/>
              <a:gd name="T24" fmla="*/ 749 w 1249"/>
              <a:gd name="T25" fmla="*/ 54 h 971"/>
              <a:gd name="T26" fmla="*/ 830 w 1249"/>
              <a:gd name="T27" fmla="*/ 33 h 971"/>
              <a:gd name="T28" fmla="*/ 913 w 1249"/>
              <a:gd name="T29" fmla="*/ 18 h 971"/>
              <a:gd name="T30" fmla="*/ 996 w 1249"/>
              <a:gd name="T31" fmla="*/ 6 h 971"/>
              <a:gd name="T32" fmla="*/ 1078 w 1249"/>
              <a:gd name="T33" fmla="*/ 2 h 971"/>
              <a:gd name="T34" fmla="*/ 1121 w 1249"/>
              <a:gd name="T35" fmla="*/ 0 h 971"/>
              <a:gd name="T36" fmla="*/ 1121 w 1249"/>
              <a:gd name="T37" fmla="*/ 0 h 971"/>
              <a:gd name="T38" fmla="*/ 1121 w 1249"/>
              <a:gd name="T39" fmla="*/ 2 h 971"/>
              <a:gd name="T40" fmla="*/ 1249 w 1249"/>
              <a:gd name="T41" fmla="*/ 329 h 971"/>
              <a:gd name="T42" fmla="*/ 1121 w 1249"/>
              <a:gd name="T43" fmla="*/ 653 h 971"/>
              <a:gd name="T44" fmla="*/ 1121 w 1249"/>
              <a:gd name="T45" fmla="*/ 653 h 971"/>
              <a:gd name="T46" fmla="*/ 1121 w 1249"/>
              <a:gd name="T47" fmla="*/ 655 h 971"/>
              <a:gd name="T48" fmla="*/ 1078 w 1249"/>
              <a:gd name="T49" fmla="*/ 655 h 971"/>
              <a:gd name="T50" fmla="*/ 997 w 1249"/>
              <a:gd name="T51" fmla="*/ 664 h 971"/>
              <a:gd name="T52" fmla="*/ 917 w 1249"/>
              <a:gd name="T53" fmla="*/ 686 h 971"/>
              <a:gd name="T54" fmla="*/ 838 w 1249"/>
              <a:gd name="T55" fmla="*/ 718 h 971"/>
              <a:gd name="T56" fmla="*/ 763 w 1249"/>
              <a:gd name="T57" fmla="*/ 762 h 971"/>
              <a:gd name="T58" fmla="*/ 698 w 1249"/>
              <a:gd name="T59" fmla="*/ 814 h 971"/>
              <a:gd name="T60" fmla="*/ 638 w 1249"/>
              <a:gd name="T61" fmla="*/ 872 h 971"/>
              <a:gd name="T62" fmla="*/ 588 w 1249"/>
              <a:gd name="T63" fmla="*/ 937 h 971"/>
              <a:gd name="T64" fmla="*/ 350 w 1249"/>
              <a:gd name="T65" fmla="*/ 699 h 971"/>
              <a:gd name="T66" fmla="*/ 0 w 1249"/>
              <a:gd name="T67" fmla="*/ 647 h 97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249"/>
              <a:gd name="T103" fmla="*/ 0 h 971"/>
              <a:gd name="T104" fmla="*/ 1249 w 1249"/>
              <a:gd name="T105" fmla="*/ 971 h 97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249" h="971">
                <a:moveTo>
                  <a:pt x="0" y="647"/>
                </a:moveTo>
                <a:lnTo>
                  <a:pt x="0" y="647"/>
                </a:lnTo>
                <a:lnTo>
                  <a:pt x="21" y="611"/>
                </a:lnTo>
                <a:lnTo>
                  <a:pt x="44" y="576"/>
                </a:lnTo>
                <a:lnTo>
                  <a:pt x="67" y="542"/>
                </a:lnTo>
                <a:lnTo>
                  <a:pt x="92" y="509"/>
                </a:lnTo>
                <a:lnTo>
                  <a:pt x="117" y="476"/>
                </a:lnTo>
                <a:lnTo>
                  <a:pt x="144" y="444"/>
                </a:lnTo>
                <a:lnTo>
                  <a:pt x="173" y="413"/>
                </a:lnTo>
                <a:lnTo>
                  <a:pt x="202" y="382"/>
                </a:lnTo>
                <a:lnTo>
                  <a:pt x="232" y="354"/>
                </a:lnTo>
                <a:lnTo>
                  <a:pt x="263" y="325"/>
                </a:lnTo>
                <a:lnTo>
                  <a:pt x="296" y="296"/>
                </a:lnTo>
                <a:lnTo>
                  <a:pt x="328" y="269"/>
                </a:lnTo>
                <a:lnTo>
                  <a:pt x="363" y="244"/>
                </a:lnTo>
                <a:lnTo>
                  <a:pt x="400" y="219"/>
                </a:lnTo>
                <a:lnTo>
                  <a:pt x="436" y="196"/>
                </a:lnTo>
                <a:lnTo>
                  <a:pt x="473" y="173"/>
                </a:lnTo>
                <a:lnTo>
                  <a:pt x="511" y="152"/>
                </a:lnTo>
                <a:lnTo>
                  <a:pt x="549" y="133"/>
                </a:lnTo>
                <a:lnTo>
                  <a:pt x="590" y="114"/>
                </a:lnTo>
                <a:lnTo>
                  <a:pt x="628" y="96"/>
                </a:lnTo>
                <a:lnTo>
                  <a:pt x="669" y="81"/>
                </a:lnTo>
                <a:lnTo>
                  <a:pt x="709" y="68"/>
                </a:lnTo>
                <a:lnTo>
                  <a:pt x="749" y="54"/>
                </a:lnTo>
                <a:lnTo>
                  <a:pt x="790" y="43"/>
                </a:lnTo>
                <a:lnTo>
                  <a:pt x="830" y="33"/>
                </a:lnTo>
                <a:lnTo>
                  <a:pt x="872" y="23"/>
                </a:lnTo>
                <a:lnTo>
                  <a:pt x="913" y="18"/>
                </a:lnTo>
                <a:lnTo>
                  <a:pt x="955" y="12"/>
                </a:lnTo>
                <a:lnTo>
                  <a:pt x="996" y="6"/>
                </a:lnTo>
                <a:lnTo>
                  <a:pt x="1038" y="2"/>
                </a:lnTo>
                <a:lnTo>
                  <a:pt x="1078" y="2"/>
                </a:lnTo>
                <a:lnTo>
                  <a:pt x="1121" y="0"/>
                </a:lnTo>
                <a:lnTo>
                  <a:pt x="1121" y="2"/>
                </a:lnTo>
                <a:lnTo>
                  <a:pt x="1184" y="164"/>
                </a:lnTo>
                <a:lnTo>
                  <a:pt x="1249" y="329"/>
                </a:lnTo>
                <a:lnTo>
                  <a:pt x="1184" y="492"/>
                </a:lnTo>
                <a:lnTo>
                  <a:pt x="1121" y="653"/>
                </a:lnTo>
                <a:lnTo>
                  <a:pt x="1121" y="655"/>
                </a:lnTo>
                <a:lnTo>
                  <a:pt x="1121" y="653"/>
                </a:lnTo>
                <a:lnTo>
                  <a:pt x="1078" y="655"/>
                </a:lnTo>
                <a:lnTo>
                  <a:pt x="1038" y="659"/>
                </a:lnTo>
                <a:lnTo>
                  <a:pt x="997" y="664"/>
                </a:lnTo>
                <a:lnTo>
                  <a:pt x="957" y="674"/>
                </a:lnTo>
                <a:lnTo>
                  <a:pt x="917" y="686"/>
                </a:lnTo>
                <a:lnTo>
                  <a:pt x="878" y="701"/>
                </a:lnTo>
                <a:lnTo>
                  <a:pt x="838" y="718"/>
                </a:lnTo>
                <a:lnTo>
                  <a:pt x="801" y="739"/>
                </a:lnTo>
                <a:lnTo>
                  <a:pt x="763" y="762"/>
                </a:lnTo>
                <a:lnTo>
                  <a:pt x="728" y="787"/>
                </a:lnTo>
                <a:lnTo>
                  <a:pt x="698" y="814"/>
                </a:lnTo>
                <a:lnTo>
                  <a:pt x="667" y="843"/>
                </a:lnTo>
                <a:lnTo>
                  <a:pt x="638" y="872"/>
                </a:lnTo>
                <a:lnTo>
                  <a:pt x="613" y="904"/>
                </a:lnTo>
                <a:lnTo>
                  <a:pt x="588" y="937"/>
                </a:lnTo>
                <a:lnTo>
                  <a:pt x="567" y="971"/>
                </a:lnTo>
                <a:lnTo>
                  <a:pt x="350" y="699"/>
                </a:lnTo>
                <a:lnTo>
                  <a:pt x="2" y="647"/>
                </a:lnTo>
                <a:lnTo>
                  <a:pt x="0" y="647"/>
                </a:lnTo>
              </a:path>
            </a:pathLst>
          </a:custGeom>
          <a:solidFill>
            <a:schemeClr val="accent6">
              <a:lumMod val="50000"/>
            </a:schemeClr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/>
            <a:endParaRPr lang="en-US" sz="4000" dirty="0">
              <a:solidFill>
                <a:schemeClr val="bg1"/>
              </a:solidFill>
              <a:latin typeface="TKTypeMedium"/>
              <a:cs typeface="Arial" charset="0"/>
            </a:endParaRPr>
          </a:p>
        </p:txBody>
      </p:sp>
      <p:sp>
        <p:nvSpPr>
          <p:cNvPr id="22" name="Freeform 24"/>
          <p:cNvSpPr>
            <a:spLocks/>
          </p:cNvSpPr>
          <p:nvPr/>
        </p:nvSpPr>
        <p:spPr bwMode="auto">
          <a:xfrm>
            <a:off x="5889681" y="4625304"/>
            <a:ext cx="1972726" cy="1534695"/>
          </a:xfrm>
          <a:custGeom>
            <a:avLst/>
            <a:gdLst>
              <a:gd name="T0" fmla="*/ 1251 w 1251"/>
              <a:gd name="T1" fmla="*/ 327 h 971"/>
              <a:gd name="T2" fmla="*/ 1249 w 1251"/>
              <a:gd name="T3" fmla="*/ 327 h 971"/>
              <a:gd name="T4" fmla="*/ 1249 w 1251"/>
              <a:gd name="T5" fmla="*/ 327 h 971"/>
              <a:gd name="T6" fmla="*/ 1226 w 1251"/>
              <a:gd name="T7" fmla="*/ 365 h 971"/>
              <a:gd name="T8" fmla="*/ 1203 w 1251"/>
              <a:gd name="T9" fmla="*/ 403 h 971"/>
              <a:gd name="T10" fmla="*/ 1178 w 1251"/>
              <a:gd name="T11" fmla="*/ 438 h 971"/>
              <a:gd name="T12" fmla="*/ 1151 w 1251"/>
              <a:gd name="T13" fmla="*/ 472 h 971"/>
              <a:gd name="T14" fmla="*/ 1124 w 1251"/>
              <a:gd name="T15" fmla="*/ 507 h 971"/>
              <a:gd name="T16" fmla="*/ 1096 w 1251"/>
              <a:gd name="T17" fmla="*/ 540 h 971"/>
              <a:gd name="T18" fmla="*/ 1067 w 1251"/>
              <a:gd name="T19" fmla="*/ 572 h 971"/>
              <a:gd name="T20" fmla="*/ 1036 w 1251"/>
              <a:gd name="T21" fmla="*/ 601 h 971"/>
              <a:gd name="T22" fmla="*/ 1005 w 1251"/>
              <a:gd name="T23" fmla="*/ 632 h 971"/>
              <a:gd name="T24" fmla="*/ 975 w 1251"/>
              <a:gd name="T25" fmla="*/ 659 h 971"/>
              <a:gd name="T26" fmla="*/ 942 w 1251"/>
              <a:gd name="T27" fmla="*/ 685 h 971"/>
              <a:gd name="T28" fmla="*/ 909 w 1251"/>
              <a:gd name="T29" fmla="*/ 712 h 971"/>
              <a:gd name="T30" fmla="*/ 875 w 1251"/>
              <a:gd name="T31" fmla="*/ 737 h 971"/>
              <a:gd name="T32" fmla="*/ 840 w 1251"/>
              <a:gd name="T33" fmla="*/ 760 h 971"/>
              <a:gd name="T34" fmla="*/ 803 w 1251"/>
              <a:gd name="T35" fmla="*/ 783 h 971"/>
              <a:gd name="T36" fmla="*/ 767 w 1251"/>
              <a:gd name="T37" fmla="*/ 804 h 971"/>
              <a:gd name="T38" fmla="*/ 730 w 1251"/>
              <a:gd name="T39" fmla="*/ 824 h 971"/>
              <a:gd name="T40" fmla="*/ 694 w 1251"/>
              <a:gd name="T41" fmla="*/ 843 h 971"/>
              <a:gd name="T42" fmla="*/ 655 w 1251"/>
              <a:gd name="T43" fmla="*/ 860 h 971"/>
              <a:gd name="T44" fmla="*/ 617 w 1251"/>
              <a:gd name="T45" fmla="*/ 875 h 971"/>
              <a:gd name="T46" fmla="*/ 578 w 1251"/>
              <a:gd name="T47" fmla="*/ 891 h 971"/>
              <a:gd name="T48" fmla="*/ 540 w 1251"/>
              <a:gd name="T49" fmla="*/ 904 h 971"/>
              <a:gd name="T50" fmla="*/ 500 w 1251"/>
              <a:gd name="T51" fmla="*/ 918 h 971"/>
              <a:gd name="T52" fmla="*/ 459 w 1251"/>
              <a:gd name="T53" fmla="*/ 929 h 971"/>
              <a:gd name="T54" fmla="*/ 419 w 1251"/>
              <a:gd name="T55" fmla="*/ 939 h 971"/>
              <a:gd name="T56" fmla="*/ 379 w 1251"/>
              <a:gd name="T57" fmla="*/ 946 h 971"/>
              <a:gd name="T58" fmla="*/ 338 w 1251"/>
              <a:gd name="T59" fmla="*/ 954 h 971"/>
              <a:gd name="T60" fmla="*/ 296 w 1251"/>
              <a:gd name="T61" fmla="*/ 960 h 971"/>
              <a:gd name="T62" fmla="*/ 255 w 1251"/>
              <a:gd name="T63" fmla="*/ 966 h 971"/>
              <a:gd name="T64" fmla="*/ 213 w 1251"/>
              <a:gd name="T65" fmla="*/ 969 h 971"/>
              <a:gd name="T66" fmla="*/ 171 w 1251"/>
              <a:gd name="T67" fmla="*/ 971 h 971"/>
              <a:gd name="T68" fmla="*/ 131 w 1251"/>
              <a:gd name="T69" fmla="*/ 971 h 971"/>
              <a:gd name="T70" fmla="*/ 131 w 1251"/>
              <a:gd name="T71" fmla="*/ 969 h 971"/>
              <a:gd name="T72" fmla="*/ 0 w 1251"/>
              <a:gd name="T73" fmla="*/ 643 h 971"/>
              <a:gd name="T74" fmla="*/ 131 w 1251"/>
              <a:gd name="T75" fmla="*/ 315 h 971"/>
              <a:gd name="T76" fmla="*/ 131 w 1251"/>
              <a:gd name="T77" fmla="*/ 319 h 971"/>
              <a:gd name="T78" fmla="*/ 171 w 1251"/>
              <a:gd name="T79" fmla="*/ 317 h 971"/>
              <a:gd name="T80" fmla="*/ 211 w 1251"/>
              <a:gd name="T81" fmla="*/ 313 h 971"/>
              <a:gd name="T82" fmla="*/ 254 w 1251"/>
              <a:gd name="T83" fmla="*/ 307 h 971"/>
              <a:gd name="T84" fmla="*/ 292 w 1251"/>
              <a:gd name="T85" fmla="*/ 298 h 971"/>
              <a:gd name="T86" fmla="*/ 332 w 1251"/>
              <a:gd name="T87" fmla="*/ 286 h 971"/>
              <a:gd name="T88" fmla="*/ 371 w 1251"/>
              <a:gd name="T89" fmla="*/ 271 h 971"/>
              <a:gd name="T90" fmla="*/ 409 w 1251"/>
              <a:gd name="T91" fmla="*/ 256 h 971"/>
              <a:gd name="T92" fmla="*/ 446 w 1251"/>
              <a:gd name="T93" fmla="*/ 236 h 971"/>
              <a:gd name="T94" fmla="*/ 480 w 1251"/>
              <a:gd name="T95" fmla="*/ 213 h 971"/>
              <a:gd name="T96" fmla="*/ 515 w 1251"/>
              <a:gd name="T97" fmla="*/ 190 h 971"/>
              <a:gd name="T98" fmla="*/ 548 w 1251"/>
              <a:gd name="T99" fmla="*/ 164 h 971"/>
              <a:gd name="T100" fmla="*/ 578 w 1251"/>
              <a:gd name="T101" fmla="*/ 137 h 971"/>
              <a:gd name="T102" fmla="*/ 607 w 1251"/>
              <a:gd name="T103" fmla="*/ 106 h 971"/>
              <a:gd name="T104" fmla="*/ 634 w 1251"/>
              <a:gd name="T105" fmla="*/ 73 h 971"/>
              <a:gd name="T106" fmla="*/ 661 w 1251"/>
              <a:gd name="T107" fmla="*/ 37 h 971"/>
              <a:gd name="T108" fmla="*/ 684 w 1251"/>
              <a:gd name="T109" fmla="*/ 0 h 971"/>
              <a:gd name="T110" fmla="*/ 684 w 1251"/>
              <a:gd name="T111" fmla="*/ 0 h 971"/>
              <a:gd name="T112" fmla="*/ 684 w 1251"/>
              <a:gd name="T113" fmla="*/ 0 h 971"/>
              <a:gd name="T114" fmla="*/ 901 w 1251"/>
              <a:gd name="T115" fmla="*/ 275 h 971"/>
              <a:gd name="T116" fmla="*/ 1251 w 1251"/>
              <a:gd name="T117" fmla="*/ 327 h 9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251"/>
              <a:gd name="T178" fmla="*/ 0 h 971"/>
              <a:gd name="T179" fmla="*/ 1251 w 1251"/>
              <a:gd name="T180" fmla="*/ 971 h 97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251" h="971">
                <a:moveTo>
                  <a:pt x="1251" y="327"/>
                </a:moveTo>
                <a:lnTo>
                  <a:pt x="1249" y="327"/>
                </a:lnTo>
                <a:lnTo>
                  <a:pt x="1226" y="365"/>
                </a:lnTo>
                <a:lnTo>
                  <a:pt x="1203" y="403"/>
                </a:lnTo>
                <a:lnTo>
                  <a:pt x="1178" y="438"/>
                </a:lnTo>
                <a:lnTo>
                  <a:pt x="1151" y="472"/>
                </a:lnTo>
                <a:lnTo>
                  <a:pt x="1124" y="507"/>
                </a:lnTo>
                <a:lnTo>
                  <a:pt x="1096" y="540"/>
                </a:lnTo>
                <a:lnTo>
                  <a:pt x="1067" y="572"/>
                </a:lnTo>
                <a:lnTo>
                  <a:pt x="1036" y="601"/>
                </a:lnTo>
                <a:lnTo>
                  <a:pt x="1005" y="632"/>
                </a:lnTo>
                <a:lnTo>
                  <a:pt x="975" y="659"/>
                </a:lnTo>
                <a:lnTo>
                  <a:pt x="942" y="685"/>
                </a:lnTo>
                <a:lnTo>
                  <a:pt x="909" y="712"/>
                </a:lnTo>
                <a:lnTo>
                  <a:pt x="875" y="737"/>
                </a:lnTo>
                <a:lnTo>
                  <a:pt x="840" y="760"/>
                </a:lnTo>
                <a:lnTo>
                  <a:pt x="803" y="783"/>
                </a:lnTo>
                <a:lnTo>
                  <a:pt x="767" y="804"/>
                </a:lnTo>
                <a:lnTo>
                  <a:pt x="730" y="824"/>
                </a:lnTo>
                <a:lnTo>
                  <a:pt x="694" y="843"/>
                </a:lnTo>
                <a:lnTo>
                  <a:pt x="655" y="860"/>
                </a:lnTo>
                <a:lnTo>
                  <a:pt x="617" y="875"/>
                </a:lnTo>
                <a:lnTo>
                  <a:pt x="578" y="891"/>
                </a:lnTo>
                <a:lnTo>
                  <a:pt x="540" y="904"/>
                </a:lnTo>
                <a:lnTo>
                  <a:pt x="500" y="918"/>
                </a:lnTo>
                <a:lnTo>
                  <a:pt x="459" y="929"/>
                </a:lnTo>
                <a:lnTo>
                  <a:pt x="419" y="939"/>
                </a:lnTo>
                <a:lnTo>
                  <a:pt x="379" y="946"/>
                </a:lnTo>
                <a:lnTo>
                  <a:pt x="338" y="954"/>
                </a:lnTo>
                <a:lnTo>
                  <a:pt x="296" y="960"/>
                </a:lnTo>
                <a:lnTo>
                  <a:pt x="255" y="966"/>
                </a:lnTo>
                <a:lnTo>
                  <a:pt x="213" y="969"/>
                </a:lnTo>
                <a:lnTo>
                  <a:pt x="171" y="971"/>
                </a:lnTo>
                <a:lnTo>
                  <a:pt x="131" y="971"/>
                </a:lnTo>
                <a:lnTo>
                  <a:pt x="131" y="969"/>
                </a:lnTo>
                <a:lnTo>
                  <a:pt x="0" y="643"/>
                </a:lnTo>
                <a:lnTo>
                  <a:pt x="131" y="315"/>
                </a:lnTo>
                <a:lnTo>
                  <a:pt x="131" y="319"/>
                </a:lnTo>
                <a:lnTo>
                  <a:pt x="171" y="317"/>
                </a:lnTo>
                <a:lnTo>
                  <a:pt x="211" y="313"/>
                </a:lnTo>
                <a:lnTo>
                  <a:pt x="254" y="307"/>
                </a:lnTo>
                <a:lnTo>
                  <a:pt x="292" y="298"/>
                </a:lnTo>
                <a:lnTo>
                  <a:pt x="332" y="286"/>
                </a:lnTo>
                <a:lnTo>
                  <a:pt x="371" y="271"/>
                </a:lnTo>
                <a:lnTo>
                  <a:pt x="409" y="256"/>
                </a:lnTo>
                <a:lnTo>
                  <a:pt x="446" y="236"/>
                </a:lnTo>
                <a:lnTo>
                  <a:pt x="480" y="213"/>
                </a:lnTo>
                <a:lnTo>
                  <a:pt x="515" y="190"/>
                </a:lnTo>
                <a:lnTo>
                  <a:pt x="548" y="164"/>
                </a:lnTo>
                <a:lnTo>
                  <a:pt x="578" y="137"/>
                </a:lnTo>
                <a:lnTo>
                  <a:pt x="607" y="106"/>
                </a:lnTo>
                <a:lnTo>
                  <a:pt x="634" y="73"/>
                </a:lnTo>
                <a:lnTo>
                  <a:pt x="661" y="37"/>
                </a:lnTo>
                <a:lnTo>
                  <a:pt x="684" y="0"/>
                </a:lnTo>
                <a:lnTo>
                  <a:pt x="901" y="275"/>
                </a:lnTo>
                <a:lnTo>
                  <a:pt x="1251" y="327"/>
                </a:lnTo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marL="531813" algn="ctr"/>
            <a:endParaRPr lang="en-US" sz="4000" dirty="0">
              <a:solidFill>
                <a:srgbClr val="4B5564"/>
              </a:solidFill>
              <a:latin typeface="TKTypeMedium"/>
              <a:cs typeface="Arial" charset="0"/>
            </a:endParaRPr>
          </a:p>
        </p:txBody>
      </p:sp>
      <p:sp>
        <p:nvSpPr>
          <p:cNvPr id="23" name="Freeform 26"/>
          <p:cNvSpPr>
            <a:spLocks/>
          </p:cNvSpPr>
          <p:nvPr/>
        </p:nvSpPr>
        <p:spPr bwMode="auto">
          <a:xfrm>
            <a:off x="4326420" y="4622130"/>
            <a:ext cx="1769580" cy="1537869"/>
          </a:xfrm>
          <a:custGeom>
            <a:avLst/>
            <a:gdLst>
              <a:gd name="T0" fmla="*/ 1121 w 1123"/>
              <a:gd name="T1" fmla="*/ 973 h 973"/>
              <a:gd name="T2" fmla="*/ 1080 w 1123"/>
              <a:gd name="T3" fmla="*/ 973 h 973"/>
              <a:gd name="T4" fmla="*/ 998 w 1123"/>
              <a:gd name="T5" fmla="*/ 968 h 973"/>
              <a:gd name="T6" fmla="*/ 915 w 1123"/>
              <a:gd name="T7" fmla="*/ 958 h 973"/>
              <a:gd name="T8" fmla="*/ 832 w 1123"/>
              <a:gd name="T9" fmla="*/ 941 h 973"/>
              <a:gd name="T10" fmla="*/ 751 w 1123"/>
              <a:gd name="T11" fmla="*/ 920 h 973"/>
              <a:gd name="T12" fmla="*/ 671 w 1123"/>
              <a:gd name="T13" fmla="*/ 893 h 973"/>
              <a:gd name="T14" fmla="*/ 590 w 1123"/>
              <a:gd name="T15" fmla="*/ 860 h 973"/>
              <a:gd name="T16" fmla="*/ 513 w 1123"/>
              <a:gd name="T17" fmla="*/ 822 h 973"/>
              <a:gd name="T18" fmla="*/ 436 w 1123"/>
              <a:gd name="T19" fmla="*/ 778 h 973"/>
              <a:gd name="T20" fmla="*/ 365 w 1123"/>
              <a:gd name="T21" fmla="*/ 730 h 973"/>
              <a:gd name="T22" fmla="*/ 296 w 1123"/>
              <a:gd name="T23" fmla="*/ 678 h 973"/>
              <a:gd name="T24" fmla="*/ 232 w 1123"/>
              <a:gd name="T25" fmla="*/ 622 h 973"/>
              <a:gd name="T26" fmla="*/ 173 w 1123"/>
              <a:gd name="T27" fmla="*/ 563 h 973"/>
              <a:gd name="T28" fmla="*/ 119 w 1123"/>
              <a:gd name="T29" fmla="*/ 499 h 973"/>
              <a:gd name="T30" fmla="*/ 69 w 1123"/>
              <a:gd name="T31" fmla="*/ 432 h 973"/>
              <a:gd name="T32" fmla="*/ 23 w 1123"/>
              <a:gd name="T33" fmla="*/ 363 h 973"/>
              <a:gd name="T34" fmla="*/ 0 w 1123"/>
              <a:gd name="T35" fmla="*/ 329 h 973"/>
              <a:gd name="T36" fmla="*/ 2 w 1123"/>
              <a:gd name="T37" fmla="*/ 329 h 973"/>
              <a:gd name="T38" fmla="*/ 2 w 1123"/>
              <a:gd name="T39" fmla="*/ 327 h 973"/>
              <a:gd name="T40" fmla="*/ 221 w 1123"/>
              <a:gd name="T41" fmla="*/ 52 h 973"/>
              <a:gd name="T42" fmla="*/ 567 w 1123"/>
              <a:gd name="T43" fmla="*/ 2 h 973"/>
              <a:gd name="T44" fmla="*/ 567 w 1123"/>
              <a:gd name="T45" fmla="*/ 0 h 973"/>
              <a:gd name="T46" fmla="*/ 569 w 1123"/>
              <a:gd name="T47" fmla="*/ 0 h 973"/>
              <a:gd name="T48" fmla="*/ 590 w 1123"/>
              <a:gd name="T49" fmla="*/ 37 h 973"/>
              <a:gd name="T50" fmla="*/ 638 w 1123"/>
              <a:gd name="T51" fmla="*/ 102 h 973"/>
              <a:gd name="T52" fmla="*/ 698 w 1123"/>
              <a:gd name="T53" fmla="*/ 162 h 973"/>
              <a:gd name="T54" fmla="*/ 765 w 1123"/>
              <a:gd name="T55" fmla="*/ 213 h 973"/>
              <a:gd name="T56" fmla="*/ 840 w 1123"/>
              <a:gd name="T57" fmla="*/ 256 h 973"/>
              <a:gd name="T58" fmla="*/ 919 w 1123"/>
              <a:gd name="T59" fmla="*/ 288 h 973"/>
              <a:gd name="T60" fmla="*/ 998 w 1123"/>
              <a:gd name="T61" fmla="*/ 309 h 973"/>
              <a:gd name="T62" fmla="*/ 1080 w 1123"/>
              <a:gd name="T63" fmla="*/ 319 h 973"/>
              <a:gd name="T64" fmla="*/ 992 w 1123"/>
              <a:gd name="T65" fmla="*/ 645 h 973"/>
              <a:gd name="T66" fmla="*/ 1123 w 1123"/>
              <a:gd name="T67" fmla="*/ 973 h 9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123"/>
              <a:gd name="T103" fmla="*/ 0 h 973"/>
              <a:gd name="T104" fmla="*/ 1123 w 1123"/>
              <a:gd name="T105" fmla="*/ 973 h 97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123" h="973">
                <a:moveTo>
                  <a:pt x="1123" y="973"/>
                </a:moveTo>
                <a:lnTo>
                  <a:pt x="1121" y="973"/>
                </a:lnTo>
                <a:lnTo>
                  <a:pt x="1080" y="973"/>
                </a:lnTo>
                <a:lnTo>
                  <a:pt x="1038" y="971"/>
                </a:lnTo>
                <a:lnTo>
                  <a:pt x="998" y="968"/>
                </a:lnTo>
                <a:lnTo>
                  <a:pt x="955" y="964"/>
                </a:lnTo>
                <a:lnTo>
                  <a:pt x="915" y="958"/>
                </a:lnTo>
                <a:lnTo>
                  <a:pt x="873" y="950"/>
                </a:lnTo>
                <a:lnTo>
                  <a:pt x="832" y="941"/>
                </a:lnTo>
                <a:lnTo>
                  <a:pt x="792" y="931"/>
                </a:lnTo>
                <a:lnTo>
                  <a:pt x="751" y="920"/>
                </a:lnTo>
                <a:lnTo>
                  <a:pt x="711" y="908"/>
                </a:lnTo>
                <a:lnTo>
                  <a:pt x="671" y="893"/>
                </a:lnTo>
                <a:lnTo>
                  <a:pt x="630" y="877"/>
                </a:lnTo>
                <a:lnTo>
                  <a:pt x="590" y="860"/>
                </a:lnTo>
                <a:lnTo>
                  <a:pt x="551" y="843"/>
                </a:lnTo>
                <a:lnTo>
                  <a:pt x="513" y="822"/>
                </a:lnTo>
                <a:lnTo>
                  <a:pt x="475" y="801"/>
                </a:lnTo>
                <a:lnTo>
                  <a:pt x="436" y="778"/>
                </a:lnTo>
                <a:lnTo>
                  <a:pt x="400" y="755"/>
                </a:lnTo>
                <a:lnTo>
                  <a:pt x="365" y="730"/>
                </a:lnTo>
                <a:lnTo>
                  <a:pt x="330" y="705"/>
                </a:lnTo>
                <a:lnTo>
                  <a:pt x="296" y="678"/>
                </a:lnTo>
                <a:lnTo>
                  <a:pt x="263" y="651"/>
                </a:lnTo>
                <a:lnTo>
                  <a:pt x="232" y="622"/>
                </a:lnTo>
                <a:lnTo>
                  <a:pt x="202" y="592"/>
                </a:lnTo>
                <a:lnTo>
                  <a:pt x="173" y="563"/>
                </a:lnTo>
                <a:lnTo>
                  <a:pt x="146" y="530"/>
                </a:lnTo>
                <a:lnTo>
                  <a:pt x="119" y="499"/>
                </a:lnTo>
                <a:lnTo>
                  <a:pt x="92" y="467"/>
                </a:lnTo>
                <a:lnTo>
                  <a:pt x="69" y="432"/>
                </a:lnTo>
                <a:lnTo>
                  <a:pt x="44" y="398"/>
                </a:lnTo>
                <a:lnTo>
                  <a:pt x="23" y="363"/>
                </a:lnTo>
                <a:lnTo>
                  <a:pt x="2" y="329"/>
                </a:lnTo>
                <a:lnTo>
                  <a:pt x="0" y="329"/>
                </a:lnTo>
                <a:lnTo>
                  <a:pt x="2" y="329"/>
                </a:lnTo>
                <a:lnTo>
                  <a:pt x="2" y="327"/>
                </a:lnTo>
                <a:lnTo>
                  <a:pt x="111" y="190"/>
                </a:lnTo>
                <a:lnTo>
                  <a:pt x="221" y="52"/>
                </a:lnTo>
                <a:lnTo>
                  <a:pt x="394" y="27"/>
                </a:lnTo>
                <a:lnTo>
                  <a:pt x="567" y="2"/>
                </a:lnTo>
                <a:lnTo>
                  <a:pt x="567" y="0"/>
                </a:lnTo>
                <a:lnTo>
                  <a:pt x="567" y="2"/>
                </a:lnTo>
                <a:lnTo>
                  <a:pt x="569" y="0"/>
                </a:lnTo>
                <a:lnTo>
                  <a:pt x="567" y="2"/>
                </a:lnTo>
                <a:lnTo>
                  <a:pt x="590" y="37"/>
                </a:lnTo>
                <a:lnTo>
                  <a:pt x="613" y="70"/>
                </a:lnTo>
                <a:lnTo>
                  <a:pt x="638" y="102"/>
                </a:lnTo>
                <a:lnTo>
                  <a:pt x="667" y="133"/>
                </a:lnTo>
                <a:lnTo>
                  <a:pt x="698" y="162"/>
                </a:lnTo>
                <a:lnTo>
                  <a:pt x="730" y="189"/>
                </a:lnTo>
                <a:lnTo>
                  <a:pt x="765" y="213"/>
                </a:lnTo>
                <a:lnTo>
                  <a:pt x="801" y="235"/>
                </a:lnTo>
                <a:lnTo>
                  <a:pt x="840" y="256"/>
                </a:lnTo>
                <a:lnTo>
                  <a:pt x="878" y="273"/>
                </a:lnTo>
                <a:lnTo>
                  <a:pt x="919" y="288"/>
                </a:lnTo>
                <a:lnTo>
                  <a:pt x="957" y="300"/>
                </a:lnTo>
                <a:lnTo>
                  <a:pt x="998" y="309"/>
                </a:lnTo>
                <a:lnTo>
                  <a:pt x="1040" y="315"/>
                </a:lnTo>
                <a:lnTo>
                  <a:pt x="1080" y="319"/>
                </a:lnTo>
                <a:lnTo>
                  <a:pt x="1121" y="321"/>
                </a:lnTo>
                <a:lnTo>
                  <a:pt x="992" y="645"/>
                </a:lnTo>
                <a:lnTo>
                  <a:pt x="1123" y="971"/>
                </a:lnTo>
                <a:lnTo>
                  <a:pt x="1123" y="973"/>
                </a:lnTo>
              </a:path>
            </a:pathLst>
          </a:custGeom>
          <a:solidFill>
            <a:schemeClr val="accent6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/>
            <a:endParaRPr lang="en-US" sz="4000" dirty="0">
              <a:solidFill>
                <a:srgbClr val="4B5564"/>
              </a:solidFill>
              <a:latin typeface="TKTypeMedium"/>
              <a:cs typeface="Arial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6919616" y="2664276"/>
            <a:ext cx="222818" cy="4924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fr-FR" sz="3200" b="1" dirty="0">
                <a:solidFill>
                  <a:srgbClr val="4B5564"/>
                </a:solidFill>
                <a:latin typeface="TKTypeMedium"/>
                <a:cs typeface="Arial" charset="0"/>
              </a:rPr>
              <a:t>1</a:t>
            </a:r>
          </a:p>
        </p:txBody>
      </p:sp>
      <p:sp>
        <p:nvSpPr>
          <p:cNvPr id="25" name="Rectangle 11"/>
          <p:cNvSpPr>
            <a:spLocks noChangeArrowheads="1"/>
          </p:cNvSpPr>
          <p:nvPr/>
        </p:nvSpPr>
        <p:spPr bwMode="auto">
          <a:xfrm>
            <a:off x="7490388" y="3972798"/>
            <a:ext cx="222818" cy="4924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en-US" sz="3200" b="1" dirty="0">
                <a:solidFill>
                  <a:srgbClr val="4B5564"/>
                </a:solidFill>
                <a:latin typeface="TKTypeMedium"/>
                <a:cs typeface="Arial" charset="0"/>
              </a:rPr>
              <a:t>2</a:t>
            </a:r>
          </a:p>
        </p:txBody>
      </p:sp>
      <p:sp>
        <p:nvSpPr>
          <p:cNvPr id="26" name="Rectangle 12"/>
          <p:cNvSpPr>
            <a:spLocks noChangeArrowheads="1"/>
          </p:cNvSpPr>
          <p:nvPr/>
        </p:nvSpPr>
        <p:spPr bwMode="auto">
          <a:xfrm>
            <a:off x="6623389" y="5289268"/>
            <a:ext cx="222818" cy="4924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fr-FR" sz="3200" b="1" dirty="0">
                <a:solidFill>
                  <a:srgbClr val="4B5564"/>
                </a:solidFill>
                <a:latin typeface="TKTypeMedium"/>
                <a:cs typeface="Arial" charset="0"/>
              </a:rPr>
              <a:t>3</a:t>
            </a:r>
          </a:p>
        </p:txBody>
      </p:sp>
      <p:sp>
        <p:nvSpPr>
          <p:cNvPr id="27" name="Rectangle 13"/>
          <p:cNvSpPr>
            <a:spLocks noChangeArrowheads="1"/>
          </p:cNvSpPr>
          <p:nvPr/>
        </p:nvSpPr>
        <p:spPr bwMode="auto">
          <a:xfrm>
            <a:off x="5114089" y="5076601"/>
            <a:ext cx="222818" cy="4924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fr-FR" sz="3200" b="1" dirty="0">
                <a:solidFill>
                  <a:schemeClr val="bg1"/>
                </a:solidFill>
                <a:latin typeface="TKTypeMedium"/>
                <a:cs typeface="Arial" charset="0"/>
              </a:rPr>
              <a:t>4</a:t>
            </a:r>
          </a:p>
        </p:txBody>
      </p:sp>
      <p:sp>
        <p:nvSpPr>
          <p:cNvPr id="28" name="Rectangle 14"/>
          <p:cNvSpPr>
            <a:spLocks noChangeArrowheads="1"/>
          </p:cNvSpPr>
          <p:nvPr/>
        </p:nvSpPr>
        <p:spPr bwMode="auto">
          <a:xfrm>
            <a:off x="4486012" y="3772031"/>
            <a:ext cx="222818" cy="4924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TKTypeMedium"/>
                <a:cs typeface="Arial" charset="0"/>
              </a:rPr>
              <a:t>5</a:t>
            </a:r>
          </a:p>
        </p:txBody>
      </p:sp>
      <p:sp>
        <p:nvSpPr>
          <p:cNvPr id="29" name="Rectangle 15"/>
          <p:cNvSpPr>
            <a:spLocks noChangeArrowheads="1"/>
          </p:cNvSpPr>
          <p:nvPr/>
        </p:nvSpPr>
        <p:spPr bwMode="auto">
          <a:xfrm>
            <a:off x="4841008" y="2573795"/>
            <a:ext cx="1200650" cy="4924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fr-FR" sz="3200" b="1" dirty="0">
                <a:solidFill>
                  <a:schemeClr val="bg1"/>
                </a:solidFill>
                <a:latin typeface="TKTypeMedium"/>
                <a:cs typeface="Arial" charset="0"/>
              </a:rPr>
              <a:t>6</a:t>
            </a: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96925219-0F94-32D3-A1C6-6EBE948D91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404" y="1901153"/>
            <a:ext cx="405172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FR" altLang="fr-FR" b="1" dirty="0"/>
              <a:t>Participations des utilisateurs (volontariat)</a:t>
            </a:r>
          </a:p>
        </p:txBody>
      </p:sp>
      <p:sp>
        <p:nvSpPr>
          <p:cNvPr id="38" name="Rectangle 1">
            <a:extLst>
              <a:ext uri="{FF2B5EF4-FFF2-40B4-BE49-F238E27FC236}">
                <a16:creationId xmlns:a16="http://schemas.microsoft.com/office/drawing/2014/main" id="{EEDEB6C6-5619-610F-AA60-160D66D1D9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404" y="3196492"/>
            <a:ext cx="3299966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fontAlgn="t"/>
            <a:r>
              <a:rPr lang="fr-FR" b="1" dirty="0">
                <a:solidFill>
                  <a:srgbClr val="000000"/>
                </a:solidFill>
                <a:latin typeface="Arial" panose="020B0604020202020204" pitchFamily="34" charset="0"/>
              </a:rPr>
              <a:t>Mécénat d’entreprise (GRDF, banque verte, promoteurs, etc.)</a:t>
            </a:r>
            <a:endParaRPr lang="fr-FR" dirty="0"/>
          </a:p>
        </p:txBody>
      </p:sp>
      <p:sp>
        <p:nvSpPr>
          <p:cNvPr id="40" name="Rectangle 1">
            <a:extLst>
              <a:ext uri="{FF2B5EF4-FFF2-40B4-BE49-F238E27FC236}">
                <a16:creationId xmlns:a16="http://schemas.microsoft.com/office/drawing/2014/main" id="{4AE3372E-D1BD-21A2-E167-8ED3AD58CB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404" y="5243100"/>
            <a:ext cx="340411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fontAlgn="t"/>
            <a:r>
              <a:rPr lang="fr-FR" sz="1400" b="1" dirty="0">
                <a:solidFill>
                  <a:srgbClr val="000000"/>
                </a:solidFill>
                <a:latin typeface="Arial" panose="020B0604020202020204" pitchFamily="34" charset="0"/>
              </a:rPr>
              <a:t>Ville de Metz / Eurométropole (cœur de ville, ORT)</a:t>
            </a:r>
            <a:endParaRPr lang="fr-FR" sz="1400" dirty="0"/>
          </a:p>
        </p:txBody>
      </p:sp>
      <p:sp>
        <p:nvSpPr>
          <p:cNvPr id="42" name="Rectangle 1">
            <a:extLst>
              <a:ext uri="{FF2B5EF4-FFF2-40B4-BE49-F238E27FC236}">
                <a16:creationId xmlns:a16="http://schemas.microsoft.com/office/drawing/2014/main" id="{95A7ED8B-93FE-1870-CE33-580B496561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8975" y="1625478"/>
            <a:ext cx="3319112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fontAlgn="t"/>
            <a:r>
              <a:rPr lang="fr-FR" b="1" dirty="0">
                <a:solidFill>
                  <a:srgbClr val="000000"/>
                </a:solidFill>
                <a:latin typeface="Arial" panose="020B0604020202020204" pitchFamily="34" charset="0"/>
              </a:rPr>
              <a:t>Autofinancement / régie municipale / réserve parlementaire</a:t>
            </a:r>
            <a:endParaRPr lang="fr-FR" dirty="0"/>
          </a:p>
        </p:txBody>
      </p:sp>
      <p:sp>
        <p:nvSpPr>
          <p:cNvPr id="45" name="Rectangle 1">
            <a:extLst>
              <a:ext uri="{FF2B5EF4-FFF2-40B4-BE49-F238E27FC236}">
                <a16:creationId xmlns:a16="http://schemas.microsoft.com/office/drawing/2014/main" id="{F2416259-E952-158C-937B-0C19C5696B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8975" y="3471051"/>
            <a:ext cx="331911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fontAlgn="t"/>
            <a:r>
              <a:rPr lang="fr-FR" b="1" dirty="0">
                <a:solidFill>
                  <a:srgbClr val="000000"/>
                </a:solidFill>
                <a:latin typeface="Arial" panose="020B0604020202020204" pitchFamily="34" charset="0"/>
              </a:rPr>
              <a:t>ADEME / Région Grand Est (AAP Nature en Ville)</a:t>
            </a:r>
            <a:endParaRPr lang="fr-FR" dirty="0"/>
          </a:p>
        </p:txBody>
      </p:sp>
      <p:sp>
        <p:nvSpPr>
          <p:cNvPr id="48" name="Rectangle 1">
            <a:extLst>
              <a:ext uri="{FF2B5EF4-FFF2-40B4-BE49-F238E27FC236}">
                <a16:creationId xmlns:a16="http://schemas.microsoft.com/office/drawing/2014/main" id="{CC220C9D-7733-BA63-0C49-6495E252AA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8975" y="4842990"/>
            <a:ext cx="3319112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fontAlgn="t"/>
            <a:r>
              <a:rPr lang="fr-FR" b="1" dirty="0">
                <a:solidFill>
                  <a:srgbClr val="000000"/>
                </a:solidFill>
                <a:latin typeface="Arial" panose="020B0604020202020204" pitchFamily="34" charset="0"/>
              </a:rPr>
              <a:t>Fondations (Fondation SNCF, Fondation Léa Nature, etc.)</a:t>
            </a:r>
            <a:endParaRPr lang="fr-FR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44BEC47-7F37-9E7D-819E-E5426C634BCA}"/>
              </a:ext>
            </a:extLst>
          </p:cNvPr>
          <p:cNvSpPr txBox="1"/>
          <p:nvPr/>
        </p:nvSpPr>
        <p:spPr>
          <a:xfrm>
            <a:off x="7150148" y="928930"/>
            <a:ext cx="4604915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fr-FR" sz="3200" dirty="0" err="1">
                <a:latin typeface="Segoe UI Variable Display Semib" pitchFamily="2" charset="0"/>
                <a:cs typeface="Segoe UI" panose="020B0502040204020203" pitchFamily="34" charset="0"/>
              </a:rPr>
              <a:t>Financing</a:t>
            </a:r>
            <a:r>
              <a:rPr lang="fr-FR" sz="3200" dirty="0">
                <a:latin typeface="Segoe UI Variable Display Semib" pitchFamily="2" charset="0"/>
                <a:cs typeface="Segoe UI" panose="020B0502040204020203" pitchFamily="34" charset="0"/>
              </a:rPr>
              <a:t> plan</a:t>
            </a:r>
          </a:p>
        </p:txBody>
      </p:sp>
      <p:sp>
        <p:nvSpPr>
          <p:cNvPr id="8" name="vert1">
            <a:extLst>
              <a:ext uri="{FF2B5EF4-FFF2-40B4-BE49-F238E27FC236}">
                <a16:creationId xmlns:a16="http://schemas.microsoft.com/office/drawing/2014/main" id="{0F771C86-9D3C-A525-D1FF-D1A767CEB1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8975" y="2555027"/>
            <a:ext cx="33191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altLang="fr-FR" sz="1400" b="1" i="0" u="none" strike="noStrike" cap="none" normalizeH="0" baseline="0" dirty="0">
                <a:ln>
                  <a:noFill/>
                </a:ln>
                <a:solidFill>
                  <a:srgbClr val="116A1B"/>
                </a:solidFill>
                <a:effectLst/>
                <a:latin typeface="Arial" panose="020B0604020202020204" pitchFamily="34" charset="0"/>
              </a:rPr>
              <a:t>9408 € / </a:t>
            </a:r>
            <a:r>
              <a:rPr lang="fr-FR" altLang="fr-FR" sz="1400" b="1" dirty="0">
                <a:solidFill>
                  <a:srgbClr val="116A1B"/>
                </a:solidFill>
                <a:latin typeface="Arial" panose="020B0604020202020204" pitchFamily="34" charset="0"/>
              </a:rPr>
              <a:t>18,82</a:t>
            </a:r>
            <a:r>
              <a:rPr kumimoji="0" lang="fr-FR" altLang="fr-FR" sz="1400" b="1" i="0" u="none" strike="noStrike" cap="none" normalizeH="0" baseline="0" dirty="0">
                <a:ln>
                  <a:noFill/>
                </a:ln>
                <a:solidFill>
                  <a:srgbClr val="116A1B"/>
                </a:solidFill>
                <a:effectLst/>
                <a:latin typeface="Arial" panose="020B0604020202020204" pitchFamily="34" charset="0"/>
              </a:rPr>
              <a:t>%</a:t>
            </a:r>
          </a:p>
        </p:txBody>
      </p:sp>
      <p:sp>
        <p:nvSpPr>
          <p:cNvPr id="9" name="vert2">
            <a:extLst>
              <a:ext uri="{FF2B5EF4-FFF2-40B4-BE49-F238E27FC236}">
                <a16:creationId xmlns:a16="http://schemas.microsoft.com/office/drawing/2014/main" id="{C72A7A8C-958A-7005-307B-3E01C0945E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8975" y="4117382"/>
            <a:ext cx="33191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solidFill>
                  <a:srgbClr val="6CB16F"/>
                </a:solidFill>
                <a:latin typeface="Arial" panose="020B0604020202020204" pitchFamily="34" charset="0"/>
              </a:rPr>
              <a:t>12 000 €</a:t>
            </a:r>
            <a:r>
              <a:rPr lang="fr-FR" altLang="fr-FR" sz="1400" dirty="0">
                <a:solidFill>
                  <a:srgbClr val="6CB16F"/>
                </a:solidFill>
                <a:latin typeface="Arial" panose="020B0604020202020204" pitchFamily="34" charset="0"/>
              </a:rPr>
              <a:t> </a:t>
            </a:r>
            <a:r>
              <a:rPr lang="fr-FR" altLang="fr-FR" sz="1400" dirty="0">
                <a:solidFill>
                  <a:srgbClr val="00B050"/>
                </a:solidFill>
                <a:latin typeface="Arial" panose="020B0604020202020204" pitchFamily="34" charset="0"/>
              </a:rPr>
              <a:t>/ 24%</a:t>
            </a:r>
            <a:endParaRPr kumimoji="0" lang="fr-FR" altLang="fr-FR" sz="140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vert3">
            <a:extLst>
              <a:ext uri="{FF2B5EF4-FFF2-40B4-BE49-F238E27FC236}">
                <a16:creationId xmlns:a16="http://schemas.microsoft.com/office/drawing/2014/main" id="{0D6D2393-9946-C3AE-8524-24F8F2E841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8975" y="5766319"/>
            <a:ext cx="33191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>
                <a:solidFill>
                  <a:srgbClr val="00B050"/>
                </a:solidFill>
                <a:latin typeface="Arial" panose="020B0604020202020204" pitchFamily="34" charset="0"/>
              </a:rPr>
              <a:t>5000 € / 10%</a:t>
            </a:r>
            <a:endParaRPr kumimoji="0" lang="fr-FR" altLang="fr-FR" sz="140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vert5">
            <a:extLst>
              <a:ext uri="{FF2B5EF4-FFF2-40B4-BE49-F238E27FC236}">
                <a16:creationId xmlns:a16="http://schemas.microsoft.com/office/drawing/2014/main" id="{D180407D-B6B2-B071-A0EB-0B400A76E0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404" y="4123860"/>
            <a:ext cx="33191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>
                <a:solidFill>
                  <a:srgbClr val="00B050"/>
                </a:solidFill>
                <a:latin typeface="Arial" panose="020B0604020202020204" pitchFamily="34" charset="0"/>
              </a:rPr>
              <a:t>7 000 € / 14%</a:t>
            </a:r>
            <a:endParaRPr kumimoji="0" lang="fr-FR" altLang="fr-FR" sz="140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vert6">
            <a:extLst>
              <a:ext uri="{FF2B5EF4-FFF2-40B4-BE49-F238E27FC236}">
                <a16:creationId xmlns:a16="http://schemas.microsoft.com/office/drawing/2014/main" id="{61961B76-6B01-B773-DC7D-5DE0A603F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404" y="2555027"/>
            <a:ext cx="380133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>
                <a:solidFill>
                  <a:srgbClr val="00B050"/>
                </a:solidFill>
                <a:latin typeface="Arial" panose="020B0604020202020204" pitchFamily="34" charset="0"/>
              </a:rPr>
              <a:t>1592 € annuels / jardinier / 3,18 %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>
                <a:solidFill>
                  <a:srgbClr val="00B050"/>
                </a:solidFill>
                <a:latin typeface="Arial" panose="020B0604020202020204" pitchFamily="34" charset="0"/>
              </a:rPr>
              <a:t>800 utilisateur estimés à Metz</a:t>
            </a:r>
          </a:p>
        </p:txBody>
      </p:sp>
      <p:sp>
        <p:nvSpPr>
          <p:cNvPr id="4" name="vert5">
            <a:extLst>
              <a:ext uri="{FF2B5EF4-FFF2-40B4-BE49-F238E27FC236}">
                <a16:creationId xmlns:a16="http://schemas.microsoft.com/office/drawing/2014/main" id="{D999AD41-D62B-948B-183E-A4DB0B2430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6444" y="3882840"/>
            <a:ext cx="331911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2400" b="1" dirty="0">
                <a:solidFill>
                  <a:srgbClr val="116A1B"/>
                </a:solidFill>
                <a:latin typeface="Arial" panose="020B0604020202020204" pitchFamily="34" charset="0"/>
              </a:rPr>
              <a:t>50 000 €</a:t>
            </a:r>
            <a:endParaRPr kumimoji="0" lang="fr-FR" altLang="fr-FR" sz="2400" b="1" i="0" u="none" strike="noStrike" cap="none" normalizeH="0" baseline="0" dirty="0">
              <a:ln>
                <a:noFill/>
              </a:ln>
              <a:solidFill>
                <a:srgbClr val="116A1B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vert5">
            <a:extLst>
              <a:ext uri="{FF2B5EF4-FFF2-40B4-BE49-F238E27FC236}">
                <a16:creationId xmlns:a16="http://schemas.microsoft.com/office/drawing/2014/main" id="{E37D0F23-EB26-BB39-EC56-05760BE84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906" y="5766319"/>
            <a:ext cx="33191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>
                <a:solidFill>
                  <a:srgbClr val="00B050"/>
                </a:solidFill>
                <a:latin typeface="Arial" panose="020B0604020202020204" pitchFamily="34" charset="0"/>
              </a:rPr>
              <a:t>15 000 € / 30%</a:t>
            </a:r>
            <a:endParaRPr kumimoji="0" lang="fr-FR" altLang="fr-FR" sz="140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C889E1E-8304-5232-FC4E-5EDE03B8AAFB}"/>
              </a:ext>
            </a:extLst>
          </p:cNvPr>
          <p:cNvSpPr txBox="1"/>
          <p:nvPr/>
        </p:nvSpPr>
        <p:spPr>
          <a:xfrm>
            <a:off x="78311" y="6346950"/>
            <a:ext cx="41611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buNone/>
            </a:pPr>
            <a:r>
              <a:rPr lang="fr-FR" sz="800" b="0" i="1" u="none" strike="noStrike" dirty="0">
                <a:solidFill>
                  <a:schemeClr val="bg1">
                    <a:lumMod val="65000"/>
                  </a:schemeClr>
                </a:solidFill>
                <a:effectLst/>
                <a:latin typeface="Arial" panose="020B0604020202020204" pitchFamily="34" charset="0"/>
              </a:rPr>
              <a:t>L’agriculture urbaine : quelles contributions à la transition écologique des villes ?</a:t>
            </a:r>
            <a:endParaRPr lang="fr-FR" sz="800" b="0" i="0" u="none" strike="noStrike" dirty="0">
              <a:solidFill>
                <a:schemeClr val="bg1">
                  <a:lumMod val="65000"/>
                </a:schemeClr>
              </a:solidFill>
              <a:effectLst/>
            </a:endParaRPr>
          </a:p>
          <a:p>
            <a:pPr algn="l" rtl="0">
              <a:buNone/>
            </a:pPr>
            <a:r>
              <a:rPr lang="fr-FR" sz="800" b="0" i="0" u="none" strike="noStrike" dirty="0">
                <a:solidFill>
                  <a:schemeClr val="bg1">
                    <a:lumMod val="65000"/>
                  </a:schemeClr>
                </a:solidFill>
                <a:effectLst/>
                <a:latin typeface="Arial" panose="020B0604020202020204" pitchFamily="34" charset="0"/>
              </a:rPr>
              <a:t>Angers, France : Agence de la Transition Écologique (ADEME).</a:t>
            </a:r>
            <a:endParaRPr lang="fr-FR" sz="800" b="0" i="0" u="none" strike="noStrike" dirty="0">
              <a:solidFill>
                <a:schemeClr val="bg1">
                  <a:lumMod val="65000"/>
                </a:schemeClr>
              </a:solidFill>
              <a:effectLst/>
            </a:endParaRPr>
          </a:p>
          <a:p>
            <a:pPr algn="l" rtl="0">
              <a:buNone/>
            </a:pPr>
            <a:r>
              <a:rPr lang="fr-FR" sz="800" b="0" i="0" u="none" strike="noStrike" dirty="0">
                <a:solidFill>
                  <a:schemeClr val="bg1">
                    <a:lumMod val="65000"/>
                  </a:schemeClr>
                </a:solidFill>
                <a:effectLst/>
                <a:latin typeface="Arial" panose="020B0604020202020204" pitchFamily="34" charset="0"/>
              </a:rPr>
              <a:t>👉 ISBN : 979-10-297-1381-6</a:t>
            </a:r>
            <a:endParaRPr lang="fr-FR" sz="800" b="0" i="0" u="none" strike="noStrike" dirty="0">
              <a:solidFill>
                <a:schemeClr val="bg1">
                  <a:lumMod val="65000"/>
                </a:schemeClr>
              </a:solidFill>
              <a:effectLst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20778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/>
      <p:bldP spid="25" grpId="0"/>
      <p:bldP spid="26" grpId="0"/>
      <p:bldP spid="27" grpId="0"/>
      <p:bldP spid="28" grpId="0"/>
      <p:bldP spid="29" grpId="0"/>
      <p:bldP spid="15" grpId="0"/>
      <p:bldP spid="38" grpId="0"/>
      <p:bldP spid="40" grpId="0"/>
      <p:bldP spid="42" grpId="0"/>
      <p:bldP spid="45" grpId="0"/>
      <p:bldP spid="48" grpId="0"/>
      <p:bldP spid="8" grpId="0"/>
      <p:bldP spid="9" grpId="0"/>
      <p:bldP spid="10" grpId="0"/>
      <p:bldP spid="11" grpId="0"/>
      <p:bldP spid="13" grpId="0"/>
      <p:bldP spid="4" grpId="0"/>
      <p:bldP spid="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A0BEA94D-AE01-ABD0-404A-1C0EA3D1A0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75602">
            <a:off x="7599207" y="854925"/>
            <a:ext cx="4040514" cy="38086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B7CB5AE-CD96-64BF-CC54-B03E5504EA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43903">
            <a:off x="4156399" y="2129874"/>
            <a:ext cx="3515061" cy="33610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F9FC7B0D-00F7-7906-42DC-87262DADEB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51" y="1149350"/>
            <a:ext cx="2768600" cy="455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95377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33601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  <p:sndAc>
          <p:stSnd>
            <p:snd r:embed="rId2" name="notif.wav"/>
          </p:stSnd>
        </p:sndAc>
      </p:transition>
    </mc:Choice>
    <mc:Fallback>
      <p:transition spd="slow">
        <p:fade/>
        <p:sndAc>
          <p:stSnd>
            <p:snd r:embed="rId2" name="notif.wav"/>
          </p:stSnd>
        </p:sndAc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B546C2D-1C04-4806-5F52-08AB70ABD5BC}"/>
              </a:ext>
            </a:extLst>
          </p:cNvPr>
          <p:cNvSpPr txBox="1"/>
          <p:nvPr/>
        </p:nvSpPr>
        <p:spPr>
          <a:xfrm>
            <a:off x="8146860" y="2494987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BEA716-D179-6404-7E4D-A54FF507C2CB}"/>
              </a:ext>
            </a:extLst>
          </p:cNvPr>
          <p:cNvSpPr txBox="1"/>
          <p:nvPr/>
        </p:nvSpPr>
        <p:spPr>
          <a:xfrm>
            <a:off x="9124519" y="300427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F89D7A-6B0E-03B2-0596-2AE106F4ED82}"/>
              </a:ext>
            </a:extLst>
          </p:cNvPr>
          <p:cNvSpPr txBox="1"/>
          <p:nvPr/>
        </p:nvSpPr>
        <p:spPr>
          <a:xfrm>
            <a:off x="8798632" y="2494987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8CEA3B-3B7A-682E-9CE4-04A4F0083D84}"/>
              </a:ext>
            </a:extLst>
          </p:cNvPr>
          <p:cNvSpPr txBox="1"/>
          <p:nvPr/>
        </p:nvSpPr>
        <p:spPr>
          <a:xfrm>
            <a:off x="8472746" y="3958027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0" name="bas">
            <a:extLst>
              <a:ext uri="{FF2B5EF4-FFF2-40B4-BE49-F238E27FC236}">
                <a16:creationId xmlns:a16="http://schemas.microsoft.com/office/drawing/2014/main" id="{6490DA5D-FEAA-D365-ECF4-BF58650FFA13}"/>
              </a:ext>
            </a:extLst>
          </p:cNvPr>
          <p:cNvSpPr/>
          <p:nvPr/>
        </p:nvSpPr>
        <p:spPr>
          <a:xfrm>
            <a:off x="7911056" y="4849213"/>
            <a:ext cx="2479040" cy="4437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haut">
            <a:extLst>
              <a:ext uri="{FF2B5EF4-FFF2-40B4-BE49-F238E27FC236}">
                <a16:creationId xmlns:a16="http://schemas.microsoft.com/office/drawing/2014/main" id="{2C0322FE-DDCA-D17E-B442-29EFDF34E0B5}"/>
              </a:ext>
            </a:extLst>
          </p:cNvPr>
          <p:cNvSpPr/>
          <p:nvPr/>
        </p:nvSpPr>
        <p:spPr>
          <a:xfrm>
            <a:off x="7718016" y="-319334"/>
            <a:ext cx="2479040" cy="4437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581187-3F92-3443-1C0E-C9D24FF9D986}"/>
              </a:ext>
            </a:extLst>
          </p:cNvPr>
          <p:cNvSpPr/>
          <p:nvPr/>
        </p:nvSpPr>
        <p:spPr>
          <a:xfrm>
            <a:off x="0" y="5394960"/>
            <a:ext cx="12192000" cy="2743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C4A2F98-A995-446E-3565-74BF8EBA2575}"/>
              </a:ext>
            </a:extLst>
          </p:cNvPr>
          <p:cNvSpPr/>
          <p:nvPr/>
        </p:nvSpPr>
        <p:spPr>
          <a:xfrm>
            <a:off x="8831543" y="4869180"/>
            <a:ext cx="131064" cy="1325880"/>
          </a:xfrm>
          <a:prstGeom prst="roundRect">
            <a:avLst>
              <a:gd name="adj" fmla="val 41283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50" name="Picture 2" descr="Travaux avenue Foch et rues adjacentes à Metz - 2019">
            <a:extLst>
              <a:ext uri="{FF2B5EF4-FFF2-40B4-BE49-F238E27FC236}">
                <a16:creationId xmlns:a16="http://schemas.microsoft.com/office/drawing/2014/main" id="{4A196B77-6B55-1BFE-282E-8514DA6B10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5" r="5665"/>
          <a:stretch/>
        </p:blipFill>
        <p:spPr bwMode="auto">
          <a:xfrm>
            <a:off x="7068275" y="762192"/>
            <a:ext cx="3657600" cy="2743200"/>
          </a:xfrm>
          <a:prstGeom prst="roundRect">
            <a:avLst>
              <a:gd name="adj" fmla="val 1091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491B8CB-0C06-8CD9-BE53-1418065B9773}"/>
              </a:ext>
            </a:extLst>
          </p:cNvPr>
          <p:cNvSpPr txBox="1"/>
          <p:nvPr/>
        </p:nvSpPr>
        <p:spPr>
          <a:xfrm>
            <a:off x="5850040" y="3534284"/>
            <a:ext cx="609407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200" i="1" dirty="0"/>
              <a:t>Avenue Foch, Metz city centre, 2025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727B80D4-78F4-A98A-3BC9-7FA93E9FCF17}"/>
              </a:ext>
            </a:extLst>
          </p:cNvPr>
          <p:cNvSpPr/>
          <p:nvPr/>
        </p:nvSpPr>
        <p:spPr>
          <a:xfrm>
            <a:off x="2965107" y="4869180"/>
            <a:ext cx="131064" cy="1325880"/>
          </a:xfrm>
          <a:prstGeom prst="roundRect">
            <a:avLst>
              <a:gd name="adj" fmla="val 41283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6786242-2851-F36F-E5FE-8215A354863C}"/>
              </a:ext>
            </a:extLst>
          </p:cNvPr>
          <p:cNvSpPr txBox="1"/>
          <p:nvPr/>
        </p:nvSpPr>
        <p:spPr>
          <a:xfrm>
            <a:off x="2032110" y="3961019"/>
            <a:ext cx="199705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2020</a:t>
            </a:r>
            <a:endParaRPr lang="fr-FR" sz="48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4AF2BBB7-0F6B-8572-8676-CB65071336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89" r="12489"/>
          <a:stretch/>
        </p:blipFill>
        <p:spPr bwMode="auto">
          <a:xfrm>
            <a:off x="1201839" y="762192"/>
            <a:ext cx="3657600" cy="2743200"/>
          </a:xfrm>
          <a:prstGeom prst="roundRect">
            <a:avLst>
              <a:gd name="adj" fmla="val 1170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6A0576F-DE16-3439-E79B-076168E7902E}"/>
              </a:ext>
            </a:extLst>
          </p:cNvPr>
          <p:cNvSpPr txBox="1"/>
          <p:nvPr/>
        </p:nvSpPr>
        <p:spPr>
          <a:xfrm>
            <a:off x="873735" y="3534284"/>
            <a:ext cx="43138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1200" i="1"/>
            </a:lvl1pPr>
          </a:lstStyle>
          <a:p>
            <a:r>
              <a:rPr lang="fr-FR" dirty="0"/>
              <a:t>Illustration of the </a:t>
            </a:r>
            <a:r>
              <a:rPr lang="fr-FR" dirty="0" err="1"/>
              <a:t>pandemic</a:t>
            </a:r>
            <a:r>
              <a:rPr lang="fr-FR" dirty="0"/>
              <a:t> situation due to covid, </a:t>
            </a:r>
            <a:r>
              <a:rPr lang="fr-FR" dirty="0" err="1"/>
              <a:t>march</a:t>
            </a:r>
            <a:r>
              <a:rPr lang="fr-FR" dirty="0"/>
              <a:t> 2020</a:t>
            </a:r>
          </a:p>
        </p:txBody>
      </p:sp>
      <p:pic>
        <p:nvPicPr>
          <p:cNvPr id="25" name="Picture 2" descr="Des champs de pommes de terre ont été cultivés sur l’avenue Foch, à Metz, vers 1942. L’avenue s’appelait alors Hermann-Goeringstrasse.   Archives RL/Photo Paul de Busson">
            <a:extLst>
              <a:ext uri="{FF2B5EF4-FFF2-40B4-BE49-F238E27FC236}">
                <a16:creationId xmlns:a16="http://schemas.microsoft.com/office/drawing/2014/main" id="{C7CBE75D-F522-E5E1-8079-7D6247B893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4" r="10784"/>
          <a:stretch/>
        </p:blipFill>
        <p:spPr bwMode="auto">
          <a:xfrm>
            <a:off x="7068276" y="762193"/>
            <a:ext cx="3657600" cy="2743200"/>
          </a:xfrm>
          <a:prstGeom prst="roundRect">
            <a:avLst>
              <a:gd name="adj" fmla="val 1091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696436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 hidden="1">
            <a:extLst>
              <a:ext uri="{FF2B5EF4-FFF2-40B4-BE49-F238E27FC236}">
                <a16:creationId xmlns:a16="http://schemas.microsoft.com/office/drawing/2014/main" id="{D2F0C31D-0289-3CD3-AF34-522415C67C29}"/>
              </a:ext>
            </a:extLst>
          </p:cNvPr>
          <p:cNvSpPr txBox="1"/>
          <p:nvPr/>
        </p:nvSpPr>
        <p:spPr>
          <a:xfrm>
            <a:off x="1970255" y="2644170"/>
            <a:ext cx="825149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800" b="1" dirty="0"/>
              <a:t>A Metz,  31 477 m² d’espaces </a:t>
            </a:r>
          </a:p>
          <a:p>
            <a:pPr algn="ctr"/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verts</a:t>
            </a:r>
            <a:r>
              <a:rPr lang="fr-FR" sz="4800" b="1" dirty="0"/>
              <a:t> seraient exploitab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78ABD2A-EBAF-BFB3-C648-A0C800E08C5F}"/>
              </a:ext>
            </a:extLst>
          </p:cNvPr>
          <p:cNvSpPr txBox="1"/>
          <p:nvPr/>
        </p:nvSpPr>
        <p:spPr>
          <a:xfrm>
            <a:off x="2207622" y="2274839"/>
            <a:ext cx="5536557" cy="230832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i="1" dirty="0"/>
              <a:t>« L’être humain est un être </a:t>
            </a:r>
            <a:r>
              <a:rPr lang="fr-FR" b="1" i="1" dirty="0"/>
              <a:t>social</a:t>
            </a:r>
            <a:r>
              <a:rPr lang="fr-FR" i="1" dirty="0"/>
              <a:t> : les centres-villes doivent proposer des expériences humaines, sensorielles, vivantes. »</a:t>
            </a:r>
          </a:p>
          <a:p>
            <a:endParaRPr lang="fr-FR" dirty="0"/>
          </a:p>
          <a:p>
            <a:r>
              <a:rPr lang="en-US" dirty="0"/>
              <a:t>“Human beings are </a:t>
            </a:r>
            <a:r>
              <a:rPr lang="en-US" b="1" dirty="0"/>
              <a:t>social</a:t>
            </a:r>
            <a:r>
              <a:rPr lang="en-US" dirty="0"/>
              <a:t> beings: city centers must offer human, sensory, living experiences.”</a:t>
            </a:r>
            <a:endParaRPr lang="fr-FR" dirty="0"/>
          </a:p>
          <a:p>
            <a:endParaRPr lang="fr-FR" i="1" dirty="0"/>
          </a:p>
          <a:p>
            <a:pPr algn="r"/>
            <a:r>
              <a:rPr lang="fr-FR" dirty="0"/>
              <a:t>Vincent GOLLAN</a:t>
            </a:r>
          </a:p>
        </p:txBody>
      </p:sp>
      <p:pic>
        <p:nvPicPr>
          <p:cNvPr id="5122" name="Picture 2" descr="Conférencier Vincent Gollain : inspirez vos équipes">
            <a:extLst>
              <a:ext uri="{FF2B5EF4-FFF2-40B4-BE49-F238E27FC236}">
                <a16:creationId xmlns:a16="http://schemas.microsoft.com/office/drawing/2014/main" id="{2D9F70BB-61D1-5B28-8120-871E42395C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6" r="3846"/>
          <a:stretch/>
        </p:blipFill>
        <p:spPr bwMode="auto">
          <a:xfrm>
            <a:off x="7838898" y="2437680"/>
            <a:ext cx="1982640" cy="1982640"/>
          </a:xfrm>
          <a:prstGeom prst="ellipse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814748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D0B5DACF-178C-EFD3-80DB-2669E1E670B1}"/>
              </a:ext>
            </a:extLst>
          </p:cNvPr>
          <p:cNvGrpSpPr/>
          <p:nvPr/>
        </p:nvGrpSpPr>
        <p:grpSpPr>
          <a:xfrm>
            <a:off x="9586762" y="2359588"/>
            <a:ext cx="1658432" cy="2138825"/>
            <a:chOff x="6579060" y="2027684"/>
            <a:chExt cx="2151934" cy="2775277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727827F0-1574-DD60-9F89-52D35E010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4614" b="98154" l="593" r="99473">
                          <a14:foregroundMark x1="47528" y1="8306" x2="52472" y2="8108"/>
                          <a14:foregroundMark x1="47264" y1="5537" x2="51813" y2="4878"/>
                          <a14:foregroundMark x1="34674" y1="85630" x2="92287" y2="89585"/>
                          <a14:foregroundMark x1="41727" y1="79829" x2="15425" y2="88991"/>
                          <a14:foregroundMark x1="36058" y1="76137" x2="8635" y2="90178"/>
                          <a14:foregroundMark x1="8635" y1="90178" x2="81806" y2="95649"/>
                          <a14:foregroundMark x1="81806" y1="95649" x2="99473" y2="91562"/>
                          <a14:foregroundMark x1="93342" y1="90508" x2="5801" y2="95913"/>
                          <a14:foregroundMark x1="5801" y1="95913" x2="659" y2="93144"/>
                          <a14:foregroundMark x1="4351" y1="87014" x2="93738" y2="98154"/>
                          <a14:foregroundMark x1="93738" y1="98154" x2="93935" y2="97891"/>
                          <a14:foregroundMark x1="31641" y1="27752" x2="31444" y2="29862"/>
                          <a14:foregroundMark x1="31444" y1="26500" x2="31444" y2="32037"/>
                          <a14:foregroundMark x1="31312" y1="25115" x2="31048" y2="33092"/>
                          <a14:foregroundMark x1="29664" y1="24720" x2="31246" y2="33685"/>
                          <a14:foregroundMark x1="30916" y1="31510" x2="30653" y2="34410"/>
                          <a14:foregroundMark x1="31114" y1="30257" x2="30323" y2="35069"/>
                          <a14:foregroundMark x1="31707" y1="21951" x2="29202" y2="35531"/>
                          <a14:foregroundMark x1="31246" y1="29927" x2="31114" y2="32301"/>
                          <a14:backgroundMark x1="14766" y1="67106" x2="27818" y2="66315"/>
                          <a14:backgroundMark x1="77851" y1="69875" x2="88728" y2="71523"/>
                          <a14:backgroundMark x1="2703" y1="80422" x2="857" y2="8055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79060" y="2027684"/>
              <a:ext cx="2151934" cy="2151934"/>
            </a:xfrm>
            <a:prstGeom prst="ellips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34760372-7958-A0E1-4633-91D8F911ACA3}"/>
                </a:ext>
              </a:extLst>
            </p:cNvPr>
            <p:cNvSpPr txBox="1"/>
            <p:nvPr/>
          </p:nvSpPr>
          <p:spPr>
            <a:xfrm>
              <a:off x="6816407" y="4283790"/>
              <a:ext cx="1677238" cy="519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000" b="1" dirty="0"/>
                <a:t>Roland S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90016F5-4DE4-32E6-A762-720ACD5A8A13}"/>
              </a:ext>
            </a:extLst>
          </p:cNvPr>
          <p:cNvGrpSpPr/>
          <p:nvPr/>
        </p:nvGrpSpPr>
        <p:grpSpPr>
          <a:xfrm>
            <a:off x="5266785" y="2359588"/>
            <a:ext cx="1658432" cy="2138825"/>
            <a:chOff x="6579060" y="2027684"/>
            <a:chExt cx="2151934" cy="2775277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DADBC77-1F2C-81D8-EB93-36FF10D53A9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9024" l="10000" r="93049">
                          <a14:foregroundMark x1="45610" y1="75488" x2="27317" y2="88537"/>
                          <a14:foregroundMark x1="60854" y1="83537" x2="78415" y2="83415"/>
                          <a14:foregroundMark x1="79024" y1="82317" x2="66829" y2="75122"/>
                          <a14:foregroundMark x1="75244" y1="79146" x2="45122" y2="99146"/>
                          <a14:foregroundMark x1="45122" y1="99146" x2="38049" y2="77073"/>
                          <a14:foregroundMark x1="41463" y1="88780" x2="35122" y2="94146"/>
                          <a14:foregroundMark x1="29268" y1="92439" x2="35488" y2="77073"/>
                          <a14:foregroundMark x1="27439" y1="86341" x2="38537" y2="74634"/>
                          <a14:foregroundMark x1="18780" y1="90244" x2="37195" y2="74878"/>
                          <a14:foregroundMark x1="80610" y1="82195" x2="93049" y2="96707"/>
                          <a14:foregroundMark x1="83537" y1="89146" x2="86585" y2="92805"/>
                          <a14:backgroundMark x1="19268" y1="49390" x2="21341" y2="37439"/>
                          <a14:backgroundMark x1="20366" y1="45976" x2="22927" y2="48780"/>
                          <a14:backgroundMark x1="78902" y1="35854" x2="75610" y2="5268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72" t="8771" r="8772" b="8771"/>
            <a:stretch/>
          </p:blipFill>
          <p:spPr>
            <a:xfrm>
              <a:off x="6579060" y="2027684"/>
              <a:ext cx="2151934" cy="2151934"/>
            </a:xfrm>
            <a:prstGeom prst="ellips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B6C4396-0F46-5415-66E1-29D7E2DBDBE6}"/>
                </a:ext>
              </a:extLst>
            </p:cNvPr>
            <p:cNvSpPr txBox="1"/>
            <p:nvPr/>
          </p:nvSpPr>
          <p:spPr>
            <a:xfrm>
              <a:off x="7031066" y="4283790"/>
              <a:ext cx="1247924" cy="519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000" b="1" dirty="0"/>
                <a:t>Loïc B.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B58DB62-7EA8-4513-787E-590BBDB78FBB}"/>
              </a:ext>
            </a:extLst>
          </p:cNvPr>
          <p:cNvGrpSpPr/>
          <p:nvPr/>
        </p:nvGrpSpPr>
        <p:grpSpPr>
          <a:xfrm>
            <a:off x="946807" y="2359588"/>
            <a:ext cx="1658432" cy="2138825"/>
            <a:chOff x="6579060" y="2027684"/>
            <a:chExt cx="2151934" cy="2775277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87DBD9C-431D-6FD4-55A1-CAD1C1F4F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7143" b="99188" l="3328" r="96591">
                          <a14:foregroundMark x1="48782" y1="9903" x2="56494" y2="9497"/>
                          <a14:foregroundMark x1="46185" y1="96672" x2="83442" y2="99269"/>
                          <a14:foregroundMark x1="83442" y1="99269" x2="48377" y2="89205"/>
                          <a14:foregroundMark x1="48377" y1="89205" x2="3571" y2="98458"/>
                          <a14:foregroundMark x1="72646" y1="94481" x2="40747" y2="88393"/>
                          <a14:foregroundMark x1="40747" y1="88393" x2="31899" y2="89286"/>
                          <a14:foregroundMark x1="58685" y1="95942" x2="33685" y2="91153"/>
                          <a14:foregroundMark x1="58685" y1="88961" x2="32955" y2="85633"/>
                          <a14:foregroundMark x1="44724" y1="93344" x2="25649" y2="88961"/>
                          <a14:foregroundMark x1="36607" y1="78977" x2="27841" y2="88231"/>
                          <a14:foregroundMark x1="43994" y1="7305" x2="52435" y2="7305"/>
                          <a14:foregroundMark x1="61607" y1="85227" x2="74107" y2="94805"/>
                          <a14:foregroundMark x1="62744" y1="77192" x2="77435" y2="92208"/>
                          <a14:foregroundMark x1="57630" y1="81575" x2="86607" y2="92938"/>
                          <a14:foregroundMark x1="52841" y1="75731" x2="73052" y2="88961"/>
                          <a14:foregroundMark x1="42857" y1="89692" x2="30357" y2="92938"/>
                          <a14:foregroundMark x1="43588" y1="90747" x2="14205" y2="92208"/>
                          <a14:foregroundMark x1="44724" y1="90422" x2="34821" y2="95211"/>
                          <a14:foregroundMark x1="53571" y1="96266" x2="41071" y2="98458"/>
                          <a14:foregroundMark x1="48052" y1="98458" x2="67127" y2="98864"/>
                          <a14:foregroundMark x1="42532" y1="88961" x2="85552" y2="98458"/>
                          <a14:foregroundMark x1="78571" y1="94075" x2="96591" y2="99188"/>
                          <a14:foregroundMark x1="88474" y1="94481" x2="32224" y2="87419"/>
                          <a14:foregroundMark x1="46591" y1="46266" x2="74513" y2="85633"/>
                          <a14:foregroundMark x1="52435" y1="23864" x2="61607" y2="2865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579060" y="2027684"/>
              <a:ext cx="2151934" cy="2151934"/>
            </a:xfrm>
            <a:prstGeom prst="ellips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1CED222-20A0-0995-A04B-81AE5A0621CD}"/>
                </a:ext>
              </a:extLst>
            </p:cNvPr>
            <p:cNvSpPr txBox="1"/>
            <p:nvPr/>
          </p:nvSpPr>
          <p:spPr>
            <a:xfrm>
              <a:off x="6821525" y="4283790"/>
              <a:ext cx="1667006" cy="519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000" b="1" dirty="0" err="1"/>
                <a:t>Charaf</a:t>
              </a:r>
              <a:r>
                <a:rPr lang="fr-FR" sz="2000" b="1" dirty="0"/>
                <a:t> L.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6C60FC1-90F0-4F6A-14A5-F5F8D7E6BC36}"/>
              </a:ext>
            </a:extLst>
          </p:cNvPr>
          <p:cNvGrpSpPr/>
          <p:nvPr/>
        </p:nvGrpSpPr>
        <p:grpSpPr>
          <a:xfrm>
            <a:off x="3106796" y="2359588"/>
            <a:ext cx="1658432" cy="2138825"/>
            <a:chOff x="6579060" y="2027684"/>
            <a:chExt cx="2151934" cy="277527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C596299-9268-0810-E865-A64D1B238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6452" b="98925" l="2867" r="89606">
                          <a14:foregroundMark x1="30824" y1="11470" x2="53763" y2="9319"/>
                          <a14:foregroundMark x1="39427" y1="7527" x2="53047" y2="7527"/>
                          <a14:foregroundMark x1="35484" y1="6452" x2="46953" y2="7885"/>
                          <a14:foregroundMark x1="59498" y1="73835" x2="65591" y2="96057"/>
                          <a14:foregroundMark x1="29749" y1="91398" x2="51971" y2="95699"/>
                          <a14:foregroundMark x1="35125" y1="83513" x2="60932" y2="99283"/>
                          <a14:foregroundMark x1="45161" y1="96416" x2="2867" y2="89606"/>
                          <a14:foregroundMark x1="9677" y1="78136" x2="4659" y2="8530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579060" y="2027684"/>
              <a:ext cx="2151934" cy="2151934"/>
            </a:xfrm>
            <a:prstGeom prst="ellips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0A10730-EDEB-DEFC-D31A-1A9CE35B208A}"/>
                </a:ext>
              </a:extLst>
            </p:cNvPr>
            <p:cNvSpPr txBox="1"/>
            <p:nvPr/>
          </p:nvSpPr>
          <p:spPr>
            <a:xfrm>
              <a:off x="7070214" y="4283790"/>
              <a:ext cx="1169632" cy="519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000" b="1" dirty="0"/>
                <a:t>Eva D.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7F71862-58AB-5CD3-18B5-9E37477951F7}"/>
              </a:ext>
            </a:extLst>
          </p:cNvPr>
          <p:cNvGrpSpPr/>
          <p:nvPr/>
        </p:nvGrpSpPr>
        <p:grpSpPr>
          <a:xfrm>
            <a:off x="7426774" y="2359588"/>
            <a:ext cx="1658432" cy="2138825"/>
            <a:chOff x="6579060" y="2027684"/>
            <a:chExt cx="2151934" cy="2775277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23F93DB1-1EE5-FFD1-E876-6F056198E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9910" b="99099" l="2252" r="89865">
                          <a14:foregroundMark x1="43694" y1="72072" x2="11486" y2="89640"/>
                          <a14:foregroundMark x1="11486" y1="89640" x2="54955" y2="87613"/>
                          <a14:foregroundMark x1="54955" y1="87613" x2="34459" y2="91892"/>
                          <a14:foregroundMark x1="29054" y1="78604" x2="74550" y2="94369"/>
                          <a14:foregroundMark x1="64865" y1="87387" x2="28153" y2="95270"/>
                          <a14:foregroundMark x1="28153" y1="95270" x2="42793" y2="93694"/>
                          <a14:foregroundMark x1="38964" y1="94595" x2="8333" y2="94144"/>
                          <a14:foregroundMark x1="8333" y1="94144" x2="8333" y2="94144"/>
                          <a14:foregroundMark x1="8333" y1="91667" x2="85586" y2="93018"/>
                          <a14:foregroundMark x1="75901" y1="95495" x2="13739" y2="96171"/>
                          <a14:foregroundMark x1="13739" y1="96171" x2="17117" y2="94595"/>
                          <a14:foregroundMark x1="34685" y1="97297" x2="75225" y2="94369"/>
                          <a14:foregroundMark x1="76802" y1="95270" x2="79054" y2="96396"/>
                          <a14:foregroundMark x1="7658" y1="98874" x2="2252" y2="9909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579060" y="2027684"/>
              <a:ext cx="2151934" cy="2151934"/>
            </a:xfrm>
            <a:prstGeom prst="ellips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F2CD39A-B817-CAF0-7F29-080387433042}"/>
                </a:ext>
              </a:extLst>
            </p:cNvPr>
            <p:cNvSpPr txBox="1"/>
            <p:nvPr/>
          </p:nvSpPr>
          <p:spPr>
            <a:xfrm>
              <a:off x="6592269" y="4283790"/>
              <a:ext cx="2125522" cy="519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000" b="1" dirty="0"/>
                <a:t>Mamadou B.</a:t>
              </a:r>
            </a:p>
          </p:txBody>
        </p:sp>
      </p:grpSp>
      <p:sp>
        <p:nvSpPr>
          <p:cNvPr id="29" name="Title 28">
            <a:extLst>
              <a:ext uri="{FF2B5EF4-FFF2-40B4-BE49-F238E27FC236}">
                <a16:creationId xmlns:a16="http://schemas.microsoft.com/office/drawing/2014/main" id="{124F3B13-D704-ED3E-6372-2E641CE5D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Introduction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D0DBC4E-4D88-98D7-2E25-09CC519CA5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Our team</a:t>
            </a:r>
          </a:p>
        </p:txBody>
      </p:sp>
    </p:spTree>
    <p:extLst>
      <p:ext uri="{BB962C8B-B14F-4D97-AF65-F5344CB8AC3E}">
        <p14:creationId xmlns:p14="http://schemas.microsoft.com/office/powerpoint/2010/main" val="40380116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D0B5DACF-178C-EFD3-80DB-2669E1E670B1}"/>
              </a:ext>
            </a:extLst>
          </p:cNvPr>
          <p:cNvGrpSpPr/>
          <p:nvPr/>
        </p:nvGrpSpPr>
        <p:grpSpPr>
          <a:xfrm>
            <a:off x="5266784" y="2359588"/>
            <a:ext cx="1658432" cy="2138825"/>
            <a:chOff x="6579060" y="2027684"/>
            <a:chExt cx="2151934" cy="2775277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727827F0-1574-DD60-9F89-52D35E010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4614" b="98154" l="593" r="99473">
                          <a14:foregroundMark x1="47528" y1="8306" x2="52472" y2="8108"/>
                          <a14:foregroundMark x1="47264" y1="5537" x2="51813" y2="4878"/>
                          <a14:foregroundMark x1="34674" y1="85630" x2="92287" y2="89585"/>
                          <a14:foregroundMark x1="41727" y1="79829" x2="15425" y2="88991"/>
                          <a14:foregroundMark x1="36058" y1="76137" x2="8635" y2="90178"/>
                          <a14:foregroundMark x1="8635" y1="90178" x2="81806" y2="95649"/>
                          <a14:foregroundMark x1="81806" y1="95649" x2="99473" y2="91562"/>
                          <a14:foregroundMark x1="93342" y1="90508" x2="5801" y2="95913"/>
                          <a14:foregroundMark x1="5801" y1="95913" x2="659" y2="93144"/>
                          <a14:foregroundMark x1="4351" y1="87014" x2="93738" y2="98154"/>
                          <a14:foregroundMark x1="93738" y1="98154" x2="93935" y2="97891"/>
                          <a14:foregroundMark x1="31641" y1="27752" x2="31444" y2="29862"/>
                          <a14:foregroundMark x1="31444" y1="26500" x2="31444" y2="32037"/>
                          <a14:foregroundMark x1="31312" y1="25115" x2="31048" y2="33092"/>
                          <a14:foregroundMark x1="29664" y1="24720" x2="31246" y2="33685"/>
                          <a14:foregroundMark x1="30916" y1="31510" x2="30653" y2="34410"/>
                          <a14:foregroundMark x1="31114" y1="30257" x2="30323" y2="35069"/>
                          <a14:foregroundMark x1="31707" y1="21951" x2="29202" y2="35531"/>
                          <a14:foregroundMark x1="31246" y1="29927" x2="31114" y2="32301"/>
                          <a14:backgroundMark x1="14766" y1="67106" x2="27818" y2="66315"/>
                          <a14:backgroundMark x1="77851" y1="69875" x2="88728" y2="71523"/>
                          <a14:backgroundMark x1="2703" y1="80422" x2="857" y2="8055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79060" y="2027684"/>
              <a:ext cx="2151934" cy="2151934"/>
            </a:xfrm>
            <a:prstGeom prst="ellips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34760372-7958-A0E1-4633-91D8F911ACA3}"/>
                </a:ext>
              </a:extLst>
            </p:cNvPr>
            <p:cNvSpPr txBox="1"/>
            <p:nvPr/>
          </p:nvSpPr>
          <p:spPr>
            <a:xfrm>
              <a:off x="6816407" y="4283790"/>
              <a:ext cx="1677238" cy="519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000" b="1" dirty="0"/>
                <a:t>Roland S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90016F5-4DE4-32E6-A762-720ACD5A8A13}"/>
              </a:ext>
            </a:extLst>
          </p:cNvPr>
          <p:cNvGrpSpPr/>
          <p:nvPr/>
        </p:nvGrpSpPr>
        <p:grpSpPr>
          <a:xfrm>
            <a:off x="5266784" y="2359588"/>
            <a:ext cx="1658432" cy="2138825"/>
            <a:chOff x="6579060" y="2027684"/>
            <a:chExt cx="2151934" cy="2775277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DADBC77-1F2C-81D8-EB93-36FF10D53A9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9024" l="10000" r="93049">
                          <a14:foregroundMark x1="45610" y1="75488" x2="27317" y2="88537"/>
                          <a14:foregroundMark x1="60854" y1="83537" x2="78415" y2="83415"/>
                          <a14:foregroundMark x1="79024" y1="82317" x2="66829" y2="75122"/>
                          <a14:foregroundMark x1="75244" y1="79146" x2="45122" y2="99146"/>
                          <a14:foregroundMark x1="45122" y1="99146" x2="38049" y2="77073"/>
                          <a14:foregroundMark x1="41463" y1="88780" x2="35122" y2="94146"/>
                          <a14:foregroundMark x1="29268" y1="92439" x2="35488" y2="77073"/>
                          <a14:foregroundMark x1="27439" y1="86341" x2="38537" y2="74634"/>
                          <a14:foregroundMark x1="18780" y1="90244" x2="37195" y2="74878"/>
                          <a14:foregroundMark x1="80610" y1="82195" x2="93049" y2="96707"/>
                          <a14:foregroundMark x1="83537" y1="89146" x2="86585" y2="92805"/>
                          <a14:backgroundMark x1="19268" y1="49390" x2="21341" y2="37439"/>
                          <a14:backgroundMark x1="20366" y1="45976" x2="22927" y2="48780"/>
                          <a14:backgroundMark x1="78902" y1="35854" x2="75610" y2="5268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72" t="8771" r="8772" b="8771"/>
            <a:stretch/>
          </p:blipFill>
          <p:spPr>
            <a:xfrm>
              <a:off x="6579060" y="2027684"/>
              <a:ext cx="2151934" cy="2151934"/>
            </a:xfrm>
            <a:prstGeom prst="ellips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B6C4396-0F46-5415-66E1-29D7E2DBDBE6}"/>
                </a:ext>
              </a:extLst>
            </p:cNvPr>
            <p:cNvSpPr txBox="1"/>
            <p:nvPr/>
          </p:nvSpPr>
          <p:spPr>
            <a:xfrm>
              <a:off x="7031066" y="4283790"/>
              <a:ext cx="1247924" cy="519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000" b="1" dirty="0"/>
                <a:t>Loïc B.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B58DB62-7EA8-4513-787E-590BBDB78FBB}"/>
              </a:ext>
            </a:extLst>
          </p:cNvPr>
          <p:cNvGrpSpPr/>
          <p:nvPr/>
        </p:nvGrpSpPr>
        <p:grpSpPr>
          <a:xfrm>
            <a:off x="5266784" y="2359588"/>
            <a:ext cx="1658432" cy="2138825"/>
            <a:chOff x="6579060" y="2027684"/>
            <a:chExt cx="2151934" cy="2775277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87DBD9C-431D-6FD4-55A1-CAD1C1F4F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7143" b="99188" l="3328" r="96591">
                          <a14:foregroundMark x1="48782" y1="9903" x2="56494" y2="9497"/>
                          <a14:foregroundMark x1="46185" y1="96672" x2="83442" y2="99269"/>
                          <a14:foregroundMark x1="83442" y1="99269" x2="48377" y2="89205"/>
                          <a14:foregroundMark x1="48377" y1="89205" x2="3571" y2="98458"/>
                          <a14:foregroundMark x1="72646" y1="94481" x2="40747" y2="88393"/>
                          <a14:foregroundMark x1="40747" y1="88393" x2="31899" y2="89286"/>
                          <a14:foregroundMark x1="58685" y1="95942" x2="33685" y2="91153"/>
                          <a14:foregroundMark x1="58685" y1="88961" x2="32955" y2="85633"/>
                          <a14:foregroundMark x1="44724" y1="93344" x2="25649" y2="88961"/>
                          <a14:foregroundMark x1="36607" y1="78977" x2="27841" y2="88231"/>
                          <a14:foregroundMark x1="43994" y1="7305" x2="52435" y2="7305"/>
                          <a14:foregroundMark x1="61607" y1="85227" x2="74107" y2="94805"/>
                          <a14:foregroundMark x1="62744" y1="77192" x2="77435" y2="92208"/>
                          <a14:foregroundMark x1="57630" y1="81575" x2="86607" y2="92938"/>
                          <a14:foregroundMark x1="52841" y1="75731" x2="73052" y2="88961"/>
                          <a14:foregroundMark x1="42857" y1="89692" x2="30357" y2="92938"/>
                          <a14:foregroundMark x1="43588" y1="90747" x2="14205" y2="92208"/>
                          <a14:foregroundMark x1="44724" y1="90422" x2="34821" y2="95211"/>
                          <a14:foregroundMark x1="53571" y1="96266" x2="41071" y2="98458"/>
                          <a14:foregroundMark x1="48052" y1="98458" x2="67127" y2="98864"/>
                          <a14:foregroundMark x1="42532" y1="88961" x2="85552" y2="98458"/>
                          <a14:foregroundMark x1="78571" y1="94075" x2="96591" y2="99188"/>
                          <a14:foregroundMark x1="88474" y1="94481" x2="32224" y2="87419"/>
                          <a14:foregroundMark x1="46591" y1="46266" x2="74513" y2="85633"/>
                          <a14:foregroundMark x1="52435" y1="23864" x2="61607" y2="2865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579060" y="2027684"/>
              <a:ext cx="2151934" cy="2151934"/>
            </a:xfrm>
            <a:prstGeom prst="ellips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1CED222-20A0-0995-A04B-81AE5A0621CD}"/>
                </a:ext>
              </a:extLst>
            </p:cNvPr>
            <p:cNvSpPr txBox="1"/>
            <p:nvPr/>
          </p:nvSpPr>
          <p:spPr>
            <a:xfrm>
              <a:off x="6821525" y="4283790"/>
              <a:ext cx="1667006" cy="519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000" b="1" dirty="0" err="1"/>
                <a:t>Charaf</a:t>
              </a:r>
              <a:r>
                <a:rPr lang="fr-FR" sz="2000" b="1" dirty="0"/>
                <a:t> L.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6C60FC1-90F0-4F6A-14A5-F5F8D7E6BC36}"/>
              </a:ext>
            </a:extLst>
          </p:cNvPr>
          <p:cNvGrpSpPr/>
          <p:nvPr/>
        </p:nvGrpSpPr>
        <p:grpSpPr>
          <a:xfrm>
            <a:off x="5266784" y="2359588"/>
            <a:ext cx="1658432" cy="2138825"/>
            <a:chOff x="6579060" y="2027684"/>
            <a:chExt cx="2151934" cy="277527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C596299-9268-0810-E865-A64D1B238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6452" b="98925" l="2867" r="89606">
                          <a14:foregroundMark x1="30824" y1="11470" x2="53763" y2="9319"/>
                          <a14:foregroundMark x1="39427" y1="7527" x2="53047" y2="7527"/>
                          <a14:foregroundMark x1="35484" y1="6452" x2="46953" y2="7885"/>
                          <a14:foregroundMark x1="59498" y1="73835" x2="65591" y2="96057"/>
                          <a14:foregroundMark x1="29749" y1="91398" x2="51971" y2="95699"/>
                          <a14:foregroundMark x1="35125" y1="83513" x2="60932" y2="99283"/>
                          <a14:foregroundMark x1="45161" y1="96416" x2="2867" y2="89606"/>
                          <a14:foregroundMark x1="9677" y1="78136" x2="4659" y2="8530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579060" y="2027684"/>
              <a:ext cx="2151934" cy="2151934"/>
            </a:xfrm>
            <a:prstGeom prst="ellips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0A10730-EDEB-DEFC-D31A-1A9CE35B208A}"/>
                </a:ext>
              </a:extLst>
            </p:cNvPr>
            <p:cNvSpPr txBox="1"/>
            <p:nvPr/>
          </p:nvSpPr>
          <p:spPr>
            <a:xfrm>
              <a:off x="7070214" y="4283790"/>
              <a:ext cx="1169632" cy="519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000" b="1" dirty="0"/>
                <a:t>Eva D.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7F71862-58AB-5CD3-18B5-9E37477951F7}"/>
              </a:ext>
            </a:extLst>
          </p:cNvPr>
          <p:cNvGrpSpPr/>
          <p:nvPr/>
        </p:nvGrpSpPr>
        <p:grpSpPr>
          <a:xfrm>
            <a:off x="5266784" y="2359588"/>
            <a:ext cx="1658432" cy="2138825"/>
            <a:chOff x="6579060" y="2027684"/>
            <a:chExt cx="2151934" cy="2775277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23F93DB1-1EE5-FFD1-E876-6F056198E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9910" b="99099" l="2252" r="89865">
                          <a14:foregroundMark x1="43694" y1="72072" x2="11486" y2="89640"/>
                          <a14:foregroundMark x1="11486" y1="89640" x2="54955" y2="87613"/>
                          <a14:foregroundMark x1="54955" y1="87613" x2="34459" y2="91892"/>
                          <a14:foregroundMark x1="29054" y1="78604" x2="74550" y2="94369"/>
                          <a14:foregroundMark x1="64865" y1="87387" x2="28153" y2="95270"/>
                          <a14:foregroundMark x1="28153" y1="95270" x2="42793" y2="93694"/>
                          <a14:foregroundMark x1="38964" y1="94595" x2="8333" y2="94144"/>
                          <a14:foregroundMark x1="8333" y1="94144" x2="8333" y2="94144"/>
                          <a14:foregroundMark x1="8333" y1="91667" x2="85586" y2="93018"/>
                          <a14:foregroundMark x1="75901" y1="95495" x2="13739" y2="96171"/>
                          <a14:foregroundMark x1="13739" y1="96171" x2="17117" y2="94595"/>
                          <a14:foregroundMark x1="34685" y1="97297" x2="75225" y2="94369"/>
                          <a14:foregroundMark x1="76802" y1="95270" x2="79054" y2="96396"/>
                          <a14:foregroundMark x1="7658" y1="98874" x2="2252" y2="9909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579060" y="2027684"/>
              <a:ext cx="2151934" cy="2151934"/>
            </a:xfrm>
            <a:prstGeom prst="ellips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F2CD39A-B817-CAF0-7F29-080387433042}"/>
                </a:ext>
              </a:extLst>
            </p:cNvPr>
            <p:cNvSpPr txBox="1"/>
            <p:nvPr/>
          </p:nvSpPr>
          <p:spPr>
            <a:xfrm>
              <a:off x="6592269" y="4283790"/>
              <a:ext cx="2125522" cy="519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2000" b="1" dirty="0"/>
                <a:t>Mamadou B.</a:t>
              </a:r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20498AA9-5B3B-6D5F-3233-2D4E5259129D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4908"/>
          <a:stretch/>
        </p:blipFill>
        <p:spPr>
          <a:xfrm>
            <a:off x="4914350" y="1951195"/>
            <a:ext cx="2363300" cy="247521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6E84872-1505-77B2-A981-5060812EE38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72" t="40103" r="10496" b="39080"/>
          <a:stretch/>
        </p:blipFill>
        <p:spPr>
          <a:xfrm>
            <a:off x="4145665" y="4436180"/>
            <a:ext cx="3900668" cy="107554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813D29C5-0832-6C8F-0BA7-5AFDC0A37714}"/>
              </a:ext>
            </a:extLst>
          </p:cNvPr>
          <p:cNvSpPr txBox="1"/>
          <p:nvPr/>
        </p:nvSpPr>
        <p:spPr>
          <a:xfrm>
            <a:off x="1170614" y="1016155"/>
            <a:ext cx="98507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Solutions for bringing </a:t>
            </a:r>
            <a:r>
              <a:rPr lang="en-US" sz="2400" b="1" dirty="0">
                <a:solidFill>
                  <a:srgbClr val="116A1B"/>
                </a:solidFill>
              </a:rPr>
              <a:t>permacultures</a:t>
            </a:r>
            <a:r>
              <a:rPr lang="en-US" sz="2400" dirty="0"/>
              <a:t> and </a:t>
            </a:r>
            <a:r>
              <a:rPr lang="en-US" sz="2400" b="1" dirty="0">
                <a:solidFill>
                  <a:srgbClr val="116A1B"/>
                </a:solidFill>
              </a:rPr>
              <a:t>shared gardens </a:t>
            </a:r>
            <a:r>
              <a:rPr lang="en-US" sz="2400" dirty="0"/>
              <a:t>to city centers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286360906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  <p:sndAc>
          <p:stSnd>
            <p:snd r:embed="rId2" name="signatureaudio.wav"/>
          </p:stSnd>
        </p:sndAc>
      </p:transition>
    </mc:Choice>
    <mc:Fallback>
      <p:transition spd="slow">
        <p:fade/>
        <p:sndAc>
          <p:stSnd>
            <p:snd r:embed="rId2" name="signatureaudio.wav"/>
          </p:stSnd>
        </p:sndAc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20498AA9-5B3B-6D5F-3233-2D4E5259129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908"/>
          <a:stretch/>
        </p:blipFill>
        <p:spPr>
          <a:xfrm>
            <a:off x="5086462" y="2851839"/>
            <a:ext cx="1452060" cy="1520825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813D29C5-0832-6C8F-0BA7-5AFDC0A37714}"/>
              </a:ext>
            </a:extLst>
          </p:cNvPr>
          <p:cNvSpPr txBox="1"/>
          <p:nvPr/>
        </p:nvSpPr>
        <p:spPr>
          <a:xfrm>
            <a:off x="1170614" y="1016155"/>
            <a:ext cx="98507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Solutions for bringing </a:t>
            </a:r>
            <a:r>
              <a:rPr lang="en-US" sz="2400" b="1" dirty="0">
                <a:solidFill>
                  <a:srgbClr val="116A1B"/>
                </a:solidFill>
              </a:rPr>
              <a:t>permacultures</a:t>
            </a:r>
            <a:r>
              <a:rPr lang="en-US" sz="2400" dirty="0"/>
              <a:t> and </a:t>
            </a:r>
            <a:r>
              <a:rPr lang="en-US" sz="2400" b="1" dirty="0">
                <a:solidFill>
                  <a:srgbClr val="116A1B"/>
                </a:solidFill>
              </a:rPr>
              <a:t>shared gardens </a:t>
            </a:r>
            <a:r>
              <a:rPr lang="en-US" sz="2400" dirty="0"/>
              <a:t>to city centers</a:t>
            </a:r>
            <a:endParaRPr lang="fr-FR" sz="2400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4634FC2-F45D-B748-8EF0-7769510E615C}"/>
              </a:ext>
            </a:extLst>
          </p:cNvPr>
          <p:cNvGrpSpPr/>
          <p:nvPr/>
        </p:nvGrpSpPr>
        <p:grpSpPr>
          <a:xfrm>
            <a:off x="1204520" y="2013866"/>
            <a:ext cx="3403383" cy="1331088"/>
            <a:chOff x="1204520" y="1929481"/>
            <a:chExt cx="3403383" cy="1331088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B620B2D-9F07-D1BC-BA10-9600E2D4A575}"/>
                </a:ext>
              </a:extLst>
            </p:cNvPr>
            <p:cNvSpPr txBox="1"/>
            <p:nvPr/>
          </p:nvSpPr>
          <p:spPr>
            <a:xfrm>
              <a:off x="2675751" y="2133360"/>
              <a:ext cx="193215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Inter-</a:t>
              </a:r>
              <a:r>
                <a:rPr lang="fr-FR" dirty="0" err="1"/>
                <a:t>Connected</a:t>
              </a:r>
              <a:r>
                <a:rPr lang="fr-FR" dirty="0"/>
                <a:t> </a:t>
              </a:r>
              <a:r>
                <a:rPr lang="fr-FR" dirty="0" err="1"/>
                <a:t>gardens</a:t>
              </a:r>
              <a:endParaRPr lang="fr-FR" dirty="0"/>
            </a:p>
            <a:p>
              <a:r>
                <a:rPr lang="fr-FR" dirty="0"/>
                <a:t>in the </a:t>
              </a:r>
              <a:r>
                <a:rPr lang="fr-FR" dirty="0" err="1"/>
                <a:t>cities</a:t>
              </a:r>
              <a:endParaRPr lang="fr-FR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E4EA9B1-BAAB-C525-39AA-FE54E75CA155}"/>
                </a:ext>
              </a:extLst>
            </p:cNvPr>
            <p:cNvSpPr/>
            <p:nvPr/>
          </p:nvSpPr>
          <p:spPr>
            <a:xfrm>
              <a:off x="1204520" y="1929481"/>
              <a:ext cx="1331088" cy="1331088"/>
            </a:xfrm>
            <a:custGeom>
              <a:avLst/>
              <a:gdLst/>
              <a:ahLst/>
              <a:cxnLst/>
              <a:rect l="l" t="t" r="r" b="b"/>
              <a:pathLst>
                <a:path w="1331088" h="1331088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95276"/>
                    <a:pt x="1214692" y="1097821"/>
                    <a:pt x="1037656" y="1217424"/>
                  </a:cubicBezTo>
                  <a:lnTo>
                    <a:pt x="969846" y="1254230"/>
                  </a:lnTo>
                  <a:lnTo>
                    <a:pt x="969846" y="290791"/>
                  </a:lnTo>
                  <a:lnTo>
                    <a:pt x="754194" y="290791"/>
                  </a:lnTo>
                  <a:cubicBezTo>
                    <a:pt x="730803" y="321598"/>
                    <a:pt x="704132" y="349981"/>
                    <a:pt x="674180" y="375939"/>
                  </a:cubicBezTo>
                  <a:cubicBezTo>
                    <a:pt x="644228" y="401897"/>
                    <a:pt x="609427" y="424575"/>
                    <a:pt x="569777" y="443972"/>
                  </a:cubicBezTo>
                  <a:cubicBezTo>
                    <a:pt x="530127" y="463369"/>
                    <a:pt x="484058" y="478773"/>
                    <a:pt x="431572" y="490183"/>
                  </a:cubicBezTo>
                  <a:lnTo>
                    <a:pt x="431572" y="700701"/>
                  </a:lnTo>
                  <a:cubicBezTo>
                    <a:pt x="483488" y="693284"/>
                    <a:pt x="528415" y="682302"/>
                    <a:pt x="566354" y="667754"/>
                  </a:cubicBezTo>
                  <a:cubicBezTo>
                    <a:pt x="604293" y="653206"/>
                    <a:pt x="636669" y="636376"/>
                    <a:pt x="663483" y="617264"/>
                  </a:cubicBezTo>
                  <a:cubicBezTo>
                    <a:pt x="690297" y="598152"/>
                    <a:pt x="712832" y="578042"/>
                    <a:pt x="731088" y="556933"/>
                  </a:cubicBezTo>
                  <a:lnTo>
                    <a:pt x="731088" y="1324481"/>
                  </a:lnTo>
                  <a:lnTo>
                    <a:pt x="665544" y="1331088"/>
                  </a:lnTo>
                  <a:cubicBezTo>
                    <a:pt x="297974" y="1331088"/>
                    <a:pt x="0" y="1033114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65017C0-42F1-B8F5-4949-F47C78A03098}"/>
              </a:ext>
            </a:extLst>
          </p:cNvPr>
          <p:cNvGrpSpPr/>
          <p:nvPr/>
        </p:nvGrpSpPr>
        <p:grpSpPr>
          <a:xfrm>
            <a:off x="1204520" y="4414017"/>
            <a:ext cx="3976026" cy="1365821"/>
            <a:chOff x="1204520" y="4414017"/>
            <a:chExt cx="3976026" cy="1365821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9095B9E-3D74-A873-C127-93E57E04C6E9}"/>
                </a:ext>
              </a:extLst>
            </p:cNvPr>
            <p:cNvSpPr txBox="1"/>
            <p:nvPr/>
          </p:nvSpPr>
          <p:spPr>
            <a:xfrm>
              <a:off x="2675751" y="4579509"/>
              <a:ext cx="250479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Mobile application </a:t>
              </a:r>
              <a:r>
                <a:rPr lang="fr-FR" dirty="0" err="1"/>
                <a:t>with</a:t>
              </a:r>
              <a:r>
                <a:rPr lang="fr-FR" dirty="0"/>
                <a:t> interactive </a:t>
              </a:r>
              <a:r>
                <a:rPr lang="fr-FR" dirty="0" err="1"/>
                <a:t>maps</a:t>
              </a:r>
              <a:r>
                <a:rPr lang="fr-FR" dirty="0"/>
                <a:t> </a:t>
              </a:r>
              <a:r>
                <a:rPr lang="fr-FR" dirty="0" err="1"/>
                <a:t>between</a:t>
              </a:r>
              <a:r>
                <a:rPr lang="fr-FR" dirty="0"/>
                <a:t> all the green </a:t>
              </a:r>
              <a:r>
                <a:rPr lang="fr-FR" dirty="0" err="1"/>
                <a:t>spaces</a:t>
              </a:r>
              <a:endParaRPr lang="fr-FR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A8005A5-3F04-D910-FE50-A15CC3101C10}"/>
                </a:ext>
              </a:extLst>
            </p:cNvPr>
            <p:cNvSpPr/>
            <p:nvPr/>
          </p:nvSpPr>
          <p:spPr>
            <a:xfrm>
              <a:off x="1204520" y="4414017"/>
              <a:ext cx="1331088" cy="1254315"/>
            </a:xfrm>
            <a:custGeom>
              <a:avLst/>
              <a:gdLst/>
              <a:ahLst/>
              <a:cxnLst/>
              <a:rect l="l" t="t" r="r" b="b"/>
              <a:pathLst>
                <a:path w="1331088" h="1254315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49329"/>
                    <a:pt x="1256595" y="1015715"/>
                    <a:pt x="1136155" y="1136155"/>
                  </a:cubicBezTo>
                  <a:lnTo>
                    <a:pt x="1131521" y="1139979"/>
                  </a:lnTo>
                  <a:lnTo>
                    <a:pt x="678887" y="1139979"/>
                  </a:lnTo>
                  <a:lnTo>
                    <a:pt x="900529" y="944009"/>
                  </a:lnTo>
                  <a:cubicBezTo>
                    <a:pt x="946170" y="903503"/>
                    <a:pt x="987389" y="863425"/>
                    <a:pt x="1024186" y="823775"/>
                  </a:cubicBezTo>
                  <a:cubicBezTo>
                    <a:pt x="1060984" y="784125"/>
                    <a:pt x="1090080" y="741051"/>
                    <a:pt x="1111474" y="694555"/>
                  </a:cubicBezTo>
                  <a:cubicBezTo>
                    <a:pt x="1132868" y="648059"/>
                    <a:pt x="1143565" y="594859"/>
                    <a:pt x="1143565" y="534955"/>
                  </a:cubicBezTo>
                  <a:cubicBezTo>
                    <a:pt x="1143565" y="463071"/>
                    <a:pt x="1128162" y="402027"/>
                    <a:pt x="1097354" y="351822"/>
                  </a:cubicBezTo>
                  <a:cubicBezTo>
                    <a:pt x="1066547" y="301618"/>
                    <a:pt x="1023188" y="263108"/>
                    <a:pt x="967278" y="236294"/>
                  </a:cubicBezTo>
                  <a:cubicBezTo>
                    <a:pt x="911369" y="209481"/>
                    <a:pt x="845760" y="196074"/>
                    <a:pt x="770453" y="196074"/>
                  </a:cubicBezTo>
                  <a:cubicBezTo>
                    <a:pt x="689441" y="196074"/>
                    <a:pt x="620410" y="211620"/>
                    <a:pt x="563359" y="242713"/>
                  </a:cubicBezTo>
                  <a:cubicBezTo>
                    <a:pt x="506308" y="273805"/>
                    <a:pt x="462950" y="318733"/>
                    <a:pt x="433283" y="377495"/>
                  </a:cubicBezTo>
                  <a:cubicBezTo>
                    <a:pt x="403617" y="436257"/>
                    <a:pt x="388783" y="506715"/>
                    <a:pt x="388783" y="588868"/>
                  </a:cubicBezTo>
                  <a:lnTo>
                    <a:pt x="606147" y="588868"/>
                  </a:lnTo>
                  <a:cubicBezTo>
                    <a:pt x="606147" y="531818"/>
                    <a:pt x="618841" y="485321"/>
                    <a:pt x="644228" y="449379"/>
                  </a:cubicBezTo>
                  <a:cubicBezTo>
                    <a:pt x="669616" y="413437"/>
                    <a:pt x="711691" y="395466"/>
                    <a:pt x="770453" y="395466"/>
                  </a:cubicBezTo>
                  <a:cubicBezTo>
                    <a:pt x="822369" y="395466"/>
                    <a:pt x="858882" y="410299"/>
                    <a:pt x="879991" y="439966"/>
                  </a:cubicBezTo>
                  <a:cubicBezTo>
                    <a:pt x="901099" y="469632"/>
                    <a:pt x="911654" y="506715"/>
                    <a:pt x="911654" y="551215"/>
                  </a:cubicBezTo>
                  <a:cubicBezTo>
                    <a:pt x="911654" y="594003"/>
                    <a:pt x="900101" y="635650"/>
                    <a:pt x="876995" y="676156"/>
                  </a:cubicBezTo>
                  <a:cubicBezTo>
                    <a:pt x="853890" y="716662"/>
                    <a:pt x="818661" y="758594"/>
                    <a:pt x="771309" y="801953"/>
                  </a:cubicBezTo>
                  <a:lnTo>
                    <a:pt x="361399" y="1175065"/>
                  </a:lnTo>
                  <a:lnTo>
                    <a:pt x="361399" y="1254315"/>
                  </a:lnTo>
                  <a:lnTo>
                    <a:pt x="293432" y="1217424"/>
                  </a:lnTo>
                  <a:cubicBezTo>
                    <a:pt x="116396" y="1097821"/>
                    <a:pt x="0" y="895276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BD17BF0-C7D9-30F8-3B7D-08D11BD7DF4B}"/>
              </a:ext>
            </a:extLst>
          </p:cNvPr>
          <p:cNvGrpSpPr/>
          <p:nvPr/>
        </p:nvGrpSpPr>
        <p:grpSpPr>
          <a:xfrm>
            <a:off x="7248706" y="4331312"/>
            <a:ext cx="4268490" cy="1337020"/>
            <a:chOff x="7248706" y="4372664"/>
            <a:chExt cx="4268490" cy="133702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64F537F-491D-0773-1680-61D961419AD8}"/>
                </a:ext>
              </a:extLst>
            </p:cNvPr>
            <p:cNvSpPr txBox="1"/>
            <p:nvPr/>
          </p:nvSpPr>
          <p:spPr>
            <a:xfrm>
              <a:off x="9012401" y="4718009"/>
              <a:ext cx="250479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Collaboration </a:t>
              </a:r>
              <a:r>
                <a:rPr lang="fr-FR" dirty="0" err="1"/>
                <a:t>with</a:t>
              </a:r>
              <a:r>
                <a:rPr lang="fr-FR" dirty="0"/>
                <a:t> local businesses</a:t>
              </a: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F8E51B9-2D48-499E-BB66-2835EC15C5EC}"/>
                </a:ext>
              </a:extLst>
            </p:cNvPr>
            <p:cNvSpPr/>
            <p:nvPr/>
          </p:nvSpPr>
          <p:spPr>
            <a:xfrm>
              <a:off x="7248706" y="4372664"/>
              <a:ext cx="1337020" cy="1337020"/>
            </a:xfrm>
            <a:custGeom>
              <a:avLst/>
              <a:gdLst/>
              <a:ahLst/>
              <a:cxnLst/>
              <a:rect l="l" t="t" r="r" b="b"/>
              <a:pathLst>
                <a:path w="1337020" h="1337020">
                  <a:moveTo>
                    <a:pt x="1057836" y="1093144"/>
                  </a:moveTo>
                  <a:lnTo>
                    <a:pt x="1180883" y="1093144"/>
                  </a:lnTo>
                  <a:lnTo>
                    <a:pt x="1141218" y="1141218"/>
                  </a:lnTo>
                  <a:lnTo>
                    <a:pt x="1057836" y="1210015"/>
                  </a:lnTo>
                  <a:close/>
                  <a:moveTo>
                    <a:pt x="874247" y="568707"/>
                  </a:moveTo>
                  <a:lnTo>
                    <a:pt x="874247" y="938019"/>
                  </a:lnTo>
                  <a:lnTo>
                    <a:pt x="627328" y="938019"/>
                  </a:lnTo>
                  <a:close/>
                  <a:moveTo>
                    <a:pt x="668510" y="0"/>
                  </a:moveTo>
                  <a:cubicBezTo>
                    <a:pt x="1037718" y="0"/>
                    <a:pt x="1337020" y="299302"/>
                    <a:pt x="1337020" y="668510"/>
                  </a:cubicBezTo>
                  <a:cubicBezTo>
                    <a:pt x="1337020" y="806963"/>
                    <a:pt x="1294931" y="935586"/>
                    <a:pt x="1222849" y="1042280"/>
                  </a:cubicBezTo>
                  <a:lnTo>
                    <a:pt x="1181652" y="1092212"/>
                  </a:lnTo>
                  <a:lnTo>
                    <a:pt x="1181652" y="938019"/>
                  </a:lnTo>
                  <a:lnTo>
                    <a:pt x="1057836" y="938019"/>
                  </a:lnTo>
                  <a:lnTo>
                    <a:pt x="1057836" y="330326"/>
                  </a:lnTo>
                  <a:lnTo>
                    <a:pt x="870689" y="330326"/>
                  </a:lnTo>
                  <a:lnTo>
                    <a:pt x="455124" y="933038"/>
                  </a:lnTo>
                  <a:lnTo>
                    <a:pt x="455124" y="1093144"/>
                  </a:lnTo>
                  <a:lnTo>
                    <a:pt x="870689" y="1093144"/>
                  </a:lnTo>
                  <a:lnTo>
                    <a:pt x="870689" y="1264636"/>
                  </a:lnTo>
                  <a:lnTo>
                    <a:pt x="965294" y="1264636"/>
                  </a:lnTo>
                  <a:lnTo>
                    <a:pt x="928724" y="1284485"/>
                  </a:lnTo>
                  <a:cubicBezTo>
                    <a:pt x="848745" y="1318314"/>
                    <a:pt x="760812" y="1337020"/>
                    <a:pt x="668510" y="1337020"/>
                  </a:cubicBezTo>
                  <a:cubicBezTo>
                    <a:pt x="299302" y="1337020"/>
                    <a:pt x="0" y="1037718"/>
                    <a:pt x="0" y="668510"/>
                  </a:cubicBezTo>
                  <a:cubicBezTo>
                    <a:pt x="0" y="299302"/>
                    <a:pt x="299302" y="0"/>
                    <a:pt x="668510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BDB1F49-4506-5C9A-8900-80D9CA958D2E}"/>
              </a:ext>
            </a:extLst>
          </p:cNvPr>
          <p:cNvGrpSpPr/>
          <p:nvPr/>
        </p:nvGrpSpPr>
        <p:grpSpPr>
          <a:xfrm>
            <a:off x="7251672" y="2038410"/>
            <a:ext cx="4265524" cy="1282001"/>
            <a:chOff x="7251672" y="2147339"/>
            <a:chExt cx="4265524" cy="1282001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96708E2-61DE-A643-2910-84C7BC333353}"/>
                </a:ext>
              </a:extLst>
            </p:cNvPr>
            <p:cNvSpPr/>
            <p:nvPr/>
          </p:nvSpPr>
          <p:spPr>
            <a:xfrm>
              <a:off x="7251672" y="2147339"/>
              <a:ext cx="1331088" cy="1282001"/>
            </a:xfrm>
            <a:custGeom>
              <a:avLst/>
              <a:gdLst/>
              <a:ahLst/>
              <a:cxnLst/>
              <a:rect l="l" t="t" r="r" b="b"/>
              <a:pathLst>
                <a:path w="1331088" h="1282001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03383"/>
                    <a:pt x="1289185" y="931435"/>
                    <a:pt x="1217424" y="1037656"/>
                  </a:cubicBezTo>
                  <a:lnTo>
                    <a:pt x="1176558" y="1087186"/>
                  </a:lnTo>
                  <a:lnTo>
                    <a:pt x="1172982" y="1036133"/>
                  </a:lnTo>
                  <a:cubicBezTo>
                    <a:pt x="1165066" y="983022"/>
                    <a:pt x="1145276" y="940100"/>
                    <a:pt x="1113613" y="907367"/>
                  </a:cubicBezTo>
                  <a:cubicBezTo>
                    <a:pt x="1071396" y="863723"/>
                    <a:pt x="1018339" y="835341"/>
                    <a:pt x="954442" y="822219"/>
                  </a:cubicBezTo>
                  <a:cubicBezTo>
                    <a:pt x="1013204" y="805674"/>
                    <a:pt x="1059843" y="777291"/>
                    <a:pt x="1094359" y="737071"/>
                  </a:cubicBezTo>
                  <a:cubicBezTo>
                    <a:pt x="1128874" y="696850"/>
                    <a:pt x="1146132" y="642224"/>
                    <a:pt x="1146132" y="573192"/>
                  </a:cubicBezTo>
                  <a:cubicBezTo>
                    <a:pt x="1146132" y="504731"/>
                    <a:pt x="1128874" y="448679"/>
                    <a:pt x="1094359" y="405035"/>
                  </a:cubicBezTo>
                  <a:cubicBezTo>
                    <a:pt x="1059843" y="361391"/>
                    <a:pt x="1014060" y="329158"/>
                    <a:pt x="957009" y="308334"/>
                  </a:cubicBezTo>
                  <a:cubicBezTo>
                    <a:pt x="899958" y="287510"/>
                    <a:pt x="837773" y="277099"/>
                    <a:pt x="770453" y="277099"/>
                  </a:cubicBezTo>
                  <a:cubicBezTo>
                    <a:pt x="698569" y="277099"/>
                    <a:pt x="633816" y="289365"/>
                    <a:pt x="576195" y="313896"/>
                  </a:cubicBezTo>
                  <a:cubicBezTo>
                    <a:pt x="518574" y="338428"/>
                    <a:pt x="472791" y="375654"/>
                    <a:pt x="438845" y="425573"/>
                  </a:cubicBezTo>
                  <a:cubicBezTo>
                    <a:pt x="404900" y="475493"/>
                    <a:pt x="387927" y="539247"/>
                    <a:pt x="387927" y="616836"/>
                  </a:cubicBezTo>
                  <a:lnTo>
                    <a:pt x="605291" y="616836"/>
                  </a:lnTo>
                  <a:cubicBezTo>
                    <a:pt x="605291" y="568913"/>
                    <a:pt x="619696" y="531402"/>
                    <a:pt x="648507" y="504303"/>
                  </a:cubicBezTo>
                  <a:cubicBezTo>
                    <a:pt x="677318" y="477204"/>
                    <a:pt x="718251" y="463655"/>
                    <a:pt x="771309" y="463655"/>
                  </a:cubicBezTo>
                  <a:cubicBezTo>
                    <a:pt x="820372" y="463655"/>
                    <a:pt x="858739" y="474209"/>
                    <a:pt x="886409" y="495318"/>
                  </a:cubicBezTo>
                  <a:cubicBezTo>
                    <a:pt x="914078" y="516427"/>
                    <a:pt x="927913" y="549231"/>
                    <a:pt x="927913" y="593731"/>
                  </a:cubicBezTo>
                  <a:cubicBezTo>
                    <a:pt x="927913" y="637089"/>
                    <a:pt x="912224" y="672033"/>
                    <a:pt x="880846" y="698561"/>
                  </a:cubicBezTo>
                  <a:cubicBezTo>
                    <a:pt x="849468" y="725090"/>
                    <a:pt x="808106" y="738354"/>
                    <a:pt x="756761" y="738354"/>
                  </a:cubicBezTo>
                  <a:lnTo>
                    <a:pt x="680598" y="738354"/>
                  </a:lnTo>
                  <a:lnTo>
                    <a:pt x="680598" y="916353"/>
                  </a:lnTo>
                  <a:lnTo>
                    <a:pt x="749915" y="916353"/>
                  </a:lnTo>
                  <a:cubicBezTo>
                    <a:pt x="806965" y="916353"/>
                    <a:pt x="853747" y="928904"/>
                    <a:pt x="890260" y="954006"/>
                  </a:cubicBezTo>
                  <a:cubicBezTo>
                    <a:pt x="926772" y="979109"/>
                    <a:pt x="945028" y="1019615"/>
                    <a:pt x="945028" y="1075524"/>
                  </a:cubicBezTo>
                  <a:cubicBezTo>
                    <a:pt x="945028" y="1133146"/>
                    <a:pt x="930338" y="1175363"/>
                    <a:pt x="900957" y="1202177"/>
                  </a:cubicBezTo>
                  <a:cubicBezTo>
                    <a:pt x="871575" y="1228991"/>
                    <a:pt x="828645" y="1242398"/>
                    <a:pt x="772164" y="1242398"/>
                  </a:cubicBezTo>
                  <a:cubicBezTo>
                    <a:pt x="709979" y="1242398"/>
                    <a:pt x="661629" y="1226566"/>
                    <a:pt x="627113" y="1194903"/>
                  </a:cubicBezTo>
                  <a:cubicBezTo>
                    <a:pt x="592597" y="1163240"/>
                    <a:pt x="575339" y="1119168"/>
                    <a:pt x="575339" y="1062688"/>
                  </a:cubicBezTo>
                  <a:lnTo>
                    <a:pt x="357976" y="1062688"/>
                  </a:lnTo>
                  <a:cubicBezTo>
                    <a:pt x="357976" y="1124018"/>
                    <a:pt x="367033" y="1177574"/>
                    <a:pt x="385146" y="1223357"/>
                  </a:cubicBezTo>
                  <a:lnTo>
                    <a:pt x="416839" y="1282001"/>
                  </a:lnTo>
                  <a:lnTo>
                    <a:pt x="406484" y="1278787"/>
                  </a:lnTo>
                  <a:cubicBezTo>
                    <a:pt x="167610" y="1177751"/>
                    <a:pt x="0" y="941222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3C079A1-5355-5296-0643-0AB4B7E02F05}"/>
                </a:ext>
              </a:extLst>
            </p:cNvPr>
            <p:cNvSpPr txBox="1"/>
            <p:nvPr/>
          </p:nvSpPr>
          <p:spPr>
            <a:xfrm>
              <a:off x="9012401" y="2555910"/>
              <a:ext cx="250479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Social inclusive </a:t>
              </a:r>
              <a:r>
                <a:rPr lang="fr-FR" dirty="0" err="1"/>
                <a:t>experiences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51369828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CCADDF8-C60C-79BA-7BE5-5BCCE6AFA0DD}"/>
              </a:ext>
            </a:extLst>
          </p:cNvPr>
          <p:cNvSpPr/>
          <p:nvPr/>
        </p:nvSpPr>
        <p:spPr>
          <a:xfrm>
            <a:off x="8177288" y="4346352"/>
            <a:ext cx="5838607" cy="3109466"/>
          </a:xfrm>
          <a:custGeom>
            <a:avLst/>
            <a:gdLst>
              <a:gd name="connsiteX0" fmla="*/ 5386312 w 5838607"/>
              <a:gd name="connsiteY0" fmla="*/ 240888 h 3109466"/>
              <a:gd name="connsiteX1" fmla="*/ 4090912 w 5838607"/>
              <a:gd name="connsiteY1" fmla="*/ 134208 h 3109466"/>
              <a:gd name="connsiteX2" fmla="*/ 2871712 w 5838607"/>
              <a:gd name="connsiteY2" fmla="*/ 637128 h 3109466"/>
              <a:gd name="connsiteX3" fmla="*/ 1820152 w 5838607"/>
              <a:gd name="connsiteY3" fmla="*/ 530448 h 3109466"/>
              <a:gd name="connsiteX4" fmla="*/ 1271512 w 5838607"/>
              <a:gd name="connsiteY4" fmla="*/ 896208 h 3109466"/>
              <a:gd name="connsiteX5" fmla="*/ 1012432 w 5838607"/>
              <a:gd name="connsiteY5" fmla="*/ 2008728 h 3109466"/>
              <a:gd name="connsiteX6" fmla="*/ 6592 w 5838607"/>
              <a:gd name="connsiteY6" fmla="*/ 2831688 h 3109466"/>
              <a:gd name="connsiteX7" fmla="*/ 1561072 w 5838607"/>
              <a:gd name="connsiteY7" fmla="*/ 3106008 h 3109466"/>
              <a:gd name="connsiteX8" fmla="*/ 5538712 w 5838607"/>
              <a:gd name="connsiteY8" fmla="*/ 2679288 h 3109466"/>
              <a:gd name="connsiteX9" fmla="*/ 5386312 w 5838607"/>
              <a:gd name="connsiteY9" fmla="*/ 240888 h 3109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38607" h="3109466">
                <a:moveTo>
                  <a:pt x="5386312" y="240888"/>
                </a:moveTo>
                <a:cubicBezTo>
                  <a:pt x="5145012" y="-183292"/>
                  <a:pt x="4510012" y="68168"/>
                  <a:pt x="4090912" y="134208"/>
                </a:cubicBezTo>
                <a:cubicBezTo>
                  <a:pt x="3671812" y="200248"/>
                  <a:pt x="3250172" y="571088"/>
                  <a:pt x="2871712" y="637128"/>
                </a:cubicBezTo>
                <a:cubicBezTo>
                  <a:pt x="2493252" y="703168"/>
                  <a:pt x="2086852" y="487268"/>
                  <a:pt x="1820152" y="530448"/>
                </a:cubicBezTo>
                <a:cubicBezTo>
                  <a:pt x="1553452" y="573628"/>
                  <a:pt x="1406132" y="649828"/>
                  <a:pt x="1271512" y="896208"/>
                </a:cubicBezTo>
                <a:cubicBezTo>
                  <a:pt x="1136892" y="1142588"/>
                  <a:pt x="1223252" y="1686148"/>
                  <a:pt x="1012432" y="2008728"/>
                </a:cubicBezTo>
                <a:cubicBezTo>
                  <a:pt x="801612" y="2331308"/>
                  <a:pt x="-84848" y="2648808"/>
                  <a:pt x="6592" y="2831688"/>
                </a:cubicBezTo>
                <a:cubicBezTo>
                  <a:pt x="98032" y="3014568"/>
                  <a:pt x="639052" y="3131408"/>
                  <a:pt x="1561072" y="3106008"/>
                </a:cubicBezTo>
                <a:cubicBezTo>
                  <a:pt x="2483092" y="3080608"/>
                  <a:pt x="4896092" y="3159348"/>
                  <a:pt x="5538712" y="2679288"/>
                </a:cubicBezTo>
                <a:cubicBezTo>
                  <a:pt x="6181332" y="2199228"/>
                  <a:pt x="5627612" y="665068"/>
                  <a:pt x="5386312" y="24088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3F4BFD-1C02-B223-B8C9-794DF03E71FA}"/>
              </a:ext>
            </a:extLst>
          </p:cNvPr>
          <p:cNvSpPr txBox="1"/>
          <p:nvPr/>
        </p:nvSpPr>
        <p:spPr>
          <a:xfrm>
            <a:off x="4284980" y="449211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715E79-5C87-A6A3-BAED-095585B8288F}"/>
              </a:ext>
            </a:extLst>
          </p:cNvPr>
          <p:cNvSpPr txBox="1"/>
          <p:nvPr/>
        </p:nvSpPr>
        <p:spPr>
          <a:xfrm>
            <a:off x="4612313" y="1912251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EE64E9-C370-A407-44EF-D40BB3747BD9}"/>
              </a:ext>
            </a:extLst>
          </p:cNvPr>
          <p:cNvSpPr txBox="1"/>
          <p:nvPr/>
        </p:nvSpPr>
        <p:spPr>
          <a:xfrm>
            <a:off x="5062425" y="-282309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061AB7F-4348-1C2A-7AB3-1C4BCE33C7EB}"/>
              </a:ext>
            </a:extLst>
          </p:cNvPr>
          <p:cNvSpPr txBox="1"/>
          <p:nvPr/>
        </p:nvSpPr>
        <p:spPr>
          <a:xfrm>
            <a:off x="5386275" y="-2476869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61F3286-9661-0AA1-A30C-FFD4CF945B5B}"/>
              </a:ext>
            </a:extLst>
          </p:cNvPr>
          <p:cNvSpPr txBox="1"/>
          <p:nvPr/>
        </p:nvSpPr>
        <p:spPr>
          <a:xfrm>
            <a:off x="5711190" y="-9792069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C384808E-A1B1-A0DD-8EF1-9104FD1B7023}"/>
              </a:ext>
            </a:extLst>
          </p:cNvPr>
          <p:cNvSpPr txBox="1"/>
          <p:nvPr/>
        </p:nvSpPr>
        <p:spPr>
          <a:xfrm>
            <a:off x="4284980" y="2644170"/>
            <a:ext cx="26322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0 000</a:t>
            </a:r>
          </a:p>
        </p:txBody>
      </p:sp>
      <p:sp>
        <p:nvSpPr>
          <p:cNvPr id="5" name="A metz">
            <a:extLst>
              <a:ext uri="{FF2B5EF4-FFF2-40B4-BE49-F238E27FC236}">
                <a16:creationId xmlns:a16="http://schemas.microsoft.com/office/drawing/2014/main" id="{9E4330FD-FAB4-083B-A079-88B33FA35BEF}"/>
              </a:ext>
            </a:extLst>
          </p:cNvPr>
          <p:cNvSpPr txBox="1"/>
          <p:nvPr/>
        </p:nvSpPr>
        <p:spPr>
          <a:xfrm>
            <a:off x="2011681" y="2649477"/>
            <a:ext cx="64401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4800" b="1" dirty="0"/>
              <a:t>In Metz, </a:t>
            </a:r>
            <a:endParaRPr lang="fr-FR" sz="4800" dirty="0"/>
          </a:p>
        </p:txBody>
      </p:sp>
      <p:sp>
        <p:nvSpPr>
          <p:cNvPr id="7" name="m²">
            <a:extLst>
              <a:ext uri="{FF2B5EF4-FFF2-40B4-BE49-F238E27FC236}">
                <a16:creationId xmlns:a16="http://schemas.microsoft.com/office/drawing/2014/main" id="{621D70F1-BAF6-18C0-81A5-F72AF515A596}"/>
              </a:ext>
            </a:extLst>
          </p:cNvPr>
          <p:cNvSpPr txBox="1"/>
          <p:nvPr/>
        </p:nvSpPr>
        <p:spPr>
          <a:xfrm>
            <a:off x="6162245" y="2638719"/>
            <a:ext cx="535233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4800" b="1" dirty="0"/>
              <a:t>m² of </a:t>
            </a:r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green</a:t>
            </a:r>
            <a:r>
              <a:rPr lang="fr-FR" sz="4800" b="1" dirty="0"/>
              <a:t> </a:t>
            </a:r>
            <a:r>
              <a:rPr lang="fr-FR" sz="4800" b="1" dirty="0" err="1"/>
              <a:t>space</a:t>
            </a:r>
            <a:r>
              <a:rPr lang="fr-FR" sz="4800" b="1" dirty="0"/>
              <a:t> </a:t>
            </a:r>
            <a:endParaRPr lang="fr-FR" sz="4800" dirty="0"/>
          </a:p>
        </p:txBody>
      </p:sp>
      <p:sp>
        <p:nvSpPr>
          <p:cNvPr id="8" name="hide bas">
            <a:extLst>
              <a:ext uri="{FF2B5EF4-FFF2-40B4-BE49-F238E27FC236}">
                <a16:creationId xmlns:a16="http://schemas.microsoft.com/office/drawing/2014/main" id="{2DEEBA56-3AF8-EBD0-08E8-010CC4854DCD}"/>
              </a:ext>
            </a:extLst>
          </p:cNvPr>
          <p:cNvSpPr/>
          <p:nvPr/>
        </p:nvSpPr>
        <p:spPr>
          <a:xfrm>
            <a:off x="2961409" y="3374290"/>
            <a:ext cx="4426527" cy="38162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hide bas">
            <a:extLst>
              <a:ext uri="{FF2B5EF4-FFF2-40B4-BE49-F238E27FC236}">
                <a16:creationId xmlns:a16="http://schemas.microsoft.com/office/drawing/2014/main" id="{3B522A76-35BF-F32B-748D-1930D1FE9882}"/>
              </a:ext>
            </a:extLst>
          </p:cNvPr>
          <p:cNvSpPr/>
          <p:nvPr/>
        </p:nvSpPr>
        <p:spPr>
          <a:xfrm>
            <a:off x="2956695" y="-1189850"/>
            <a:ext cx="4426527" cy="38162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5EFDAFB-2829-7B7D-C12C-CB6810BF7F47}"/>
              </a:ext>
            </a:extLst>
          </p:cNvPr>
          <p:cNvSpPr txBox="1"/>
          <p:nvPr/>
        </p:nvSpPr>
        <p:spPr>
          <a:xfrm>
            <a:off x="3420976" y="3374290"/>
            <a:ext cx="535005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800" b="1" dirty="0"/>
              <a:t>could be exploit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28D6D4-385E-1AB9-8DF3-85B053D56E94}"/>
              </a:ext>
            </a:extLst>
          </p:cNvPr>
          <p:cNvSpPr txBox="1"/>
          <p:nvPr/>
        </p:nvSpPr>
        <p:spPr>
          <a:xfrm>
            <a:off x="1961439" y="6387226"/>
            <a:ext cx="82691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Sources: </a:t>
            </a:r>
            <a:r>
              <a:rPr lang="en-US" sz="1200" dirty="0" err="1"/>
              <a:t>TerraCity</a:t>
            </a:r>
            <a:r>
              <a:rPr lang="en-US" sz="1200" dirty="0"/>
              <a:t>, 5/17/2025, studies based on soil, socio-economic and political issues in the Metz </a:t>
            </a:r>
            <a:r>
              <a:rPr lang="en-US" sz="1200" dirty="0" err="1"/>
              <a:t>Eurometropolis</a:t>
            </a:r>
            <a:r>
              <a:rPr lang="en-US" sz="1200" dirty="0"/>
              <a:t> area.</a:t>
            </a:r>
            <a:endParaRPr lang="fr-FR" sz="1200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6D1F3D6-9906-8D5C-6A0F-09E4F0E19E5F}"/>
              </a:ext>
            </a:extLst>
          </p:cNvPr>
          <p:cNvGrpSpPr/>
          <p:nvPr/>
        </p:nvGrpSpPr>
        <p:grpSpPr>
          <a:xfrm>
            <a:off x="10450702" y="4022782"/>
            <a:ext cx="1532894" cy="1512806"/>
            <a:chOff x="9790816" y="2831970"/>
            <a:chExt cx="2714189" cy="2678620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8138EF1-1E7C-18C9-6273-2524E57B8790}"/>
                </a:ext>
              </a:extLst>
            </p:cNvPr>
            <p:cNvSpPr/>
            <p:nvPr/>
          </p:nvSpPr>
          <p:spPr>
            <a:xfrm>
              <a:off x="9790816" y="2831970"/>
              <a:ext cx="2714189" cy="1457354"/>
            </a:xfrm>
            <a:custGeom>
              <a:avLst/>
              <a:gdLst>
                <a:gd name="connsiteX0" fmla="*/ 1345230 w 2714189"/>
                <a:gd name="connsiteY0" fmla="*/ 0 h 1457354"/>
                <a:gd name="connsiteX1" fmla="*/ 1357095 w 2714189"/>
                <a:gd name="connsiteY1" fmla="*/ 909 h 1457354"/>
                <a:gd name="connsiteX2" fmla="*/ 1368959 w 2714189"/>
                <a:gd name="connsiteY2" fmla="*/ 0 h 1457354"/>
                <a:gd name="connsiteX3" fmla="*/ 1400570 w 2714189"/>
                <a:gd name="connsiteY3" fmla="*/ 4241 h 1457354"/>
                <a:gd name="connsiteX4" fmla="*/ 1403957 w 2714189"/>
                <a:gd name="connsiteY4" fmla="*/ 4500 h 1457354"/>
                <a:gd name="connsiteX5" fmla="*/ 1405870 w 2714189"/>
                <a:gd name="connsiteY5" fmla="*/ 4952 h 1457354"/>
                <a:gd name="connsiteX6" fmla="*/ 1469151 w 2714189"/>
                <a:gd name="connsiteY6" fmla="*/ 13441 h 1457354"/>
                <a:gd name="connsiteX7" fmla="*/ 1654435 w 2714189"/>
                <a:gd name="connsiteY7" fmla="*/ 176862 h 1457354"/>
                <a:gd name="connsiteX8" fmla="*/ 1655021 w 2714189"/>
                <a:gd name="connsiteY8" fmla="*/ 181288 h 1457354"/>
                <a:gd name="connsiteX9" fmla="*/ 1660058 w 2714189"/>
                <a:gd name="connsiteY9" fmla="*/ 178832 h 1457354"/>
                <a:gd name="connsiteX10" fmla="*/ 1870956 w 2714189"/>
                <a:gd name="connsiteY10" fmla="*/ 181289 h 1457354"/>
                <a:gd name="connsiteX11" fmla="*/ 2060986 w 2714189"/>
                <a:gd name="connsiteY11" fmla="*/ 459247 h 1457354"/>
                <a:gd name="connsiteX12" fmla="*/ 2052465 w 2714189"/>
                <a:gd name="connsiteY12" fmla="*/ 494004 h 1457354"/>
                <a:gd name="connsiteX13" fmla="*/ 2058094 w 2714189"/>
                <a:gd name="connsiteY13" fmla="*/ 491353 h 1457354"/>
                <a:gd name="connsiteX14" fmla="*/ 2300231 w 2714189"/>
                <a:gd name="connsiteY14" fmla="*/ 524185 h 1457354"/>
                <a:gd name="connsiteX15" fmla="*/ 2416086 w 2714189"/>
                <a:gd name="connsiteY15" fmla="*/ 853739 h 1457354"/>
                <a:gd name="connsiteX16" fmla="*/ 2401265 w 2714189"/>
                <a:gd name="connsiteY16" fmla="*/ 872514 h 1457354"/>
                <a:gd name="connsiteX17" fmla="*/ 2401442 w 2714189"/>
                <a:gd name="connsiteY17" fmla="*/ 872488 h 1457354"/>
                <a:gd name="connsiteX18" fmla="*/ 2713888 w 2714189"/>
                <a:gd name="connsiteY18" fmla="*/ 1151131 h 1457354"/>
                <a:gd name="connsiteX19" fmla="*/ 2428074 w 2714189"/>
                <a:gd name="connsiteY19" fmla="*/ 1457031 h 1457354"/>
                <a:gd name="connsiteX20" fmla="*/ 2258555 w 2714189"/>
                <a:gd name="connsiteY20" fmla="*/ 1414735 h 1457354"/>
                <a:gd name="connsiteX21" fmla="*/ 2226162 w 2714189"/>
                <a:gd name="connsiteY21" fmla="*/ 1390970 h 1457354"/>
                <a:gd name="connsiteX22" fmla="*/ 2179671 w 2714189"/>
                <a:gd name="connsiteY22" fmla="*/ 1421201 h 1457354"/>
                <a:gd name="connsiteX23" fmla="*/ 2064395 w 2714189"/>
                <a:gd name="connsiteY23" fmla="*/ 1451941 h 1457354"/>
                <a:gd name="connsiteX24" fmla="*/ 1809851 w 2714189"/>
                <a:gd name="connsiteY24" fmla="*/ 1320543 h 1457354"/>
                <a:gd name="connsiteX25" fmla="*/ 1807226 w 2714189"/>
                <a:gd name="connsiteY25" fmla="*/ 1315857 h 1457354"/>
                <a:gd name="connsiteX26" fmla="*/ 1769070 w 2714189"/>
                <a:gd name="connsiteY26" fmla="*/ 1321378 h 1457354"/>
                <a:gd name="connsiteX27" fmla="*/ 1515157 w 2714189"/>
                <a:gd name="connsiteY27" fmla="*/ 1203819 h 1457354"/>
                <a:gd name="connsiteX28" fmla="*/ 1495357 w 2714189"/>
                <a:gd name="connsiteY28" fmla="*/ 1171712 h 1457354"/>
                <a:gd name="connsiteX29" fmla="*/ 1442290 w 2714189"/>
                <a:gd name="connsiteY29" fmla="*/ 1190485 h 1457354"/>
                <a:gd name="connsiteX30" fmla="*/ 1382275 w 2714189"/>
                <a:gd name="connsiteY30" fmla="*/ 1199169 h 1457354"/>
                <a:gd name="connsiteX31" fmla="*/ 1357095 w 2714189"/>
                <a:gd name="connsiteY31" fmla="*/ 1197842 h 1457354"/>
                <a:gd name="connsiteX32" fmla="*/ 1331914 w 2714189"/>
                <a:gd name="connsiteY32" fmla="*/ 1199169 h 1457354"/>
                <a:gd name="connsiteX33" fmla="*/ 1271899 w 2714189"/>
                <a:gd name="connsiteY33" fmla="*/ 1190485 h 1457354"/>
                <a:gd name="connsiteX34" fmla="*/ 1218832 w 2714189"/>
                <a:gd name="connsiteY34" fmla="*/ 1171712 h 1457354"/>
                <a:gd name="connsiteX35" fmla="*/ 1199032 w 2714189"/>
                <a:gd name="connsiteY35" fmla="*/ 1203819 h 1457354"/>
                <a:gd name="connsiteX36" fmla="*/ 945118 w 2714189"/>
                <a:gd name="connsiteY36" fmla="*/ 1321378 h 1457354"/>
                <a:gd name="connsiteX37" fmla="*/ 906963 w 2714189"/>
                <a:gd name="connsiteY37" fmla="*/ 1315857 h 1457354"/>
                <a:gd name="connsiteX38" fmla="*/ 904338 w 2714189"/>
                <a:gd name="connsiteY38" fmla="*/ 1320543 h 1457354"/>
                <a:gd name="connsiteX39" fmla="*/ 649794 w 2714189"/>
                <a:gd name="connsiteY39" fmla="*/ 1451941 h 1457354"/>
                <a:gd name="connsiteX40" fmla="*/ 534518 w 2714189"/>
                <a:gd name="connsiteY40" fmla="*/ 1421201 h 1457354"/>
                <a:gd name="connsiteX41" fmla="*/ 488027 w 2714189"/>
                <a:gd name="connsiteY41" fmla="*/ 1390970 h 1457354"/>
                <a:gd name="connsiteX42" fmla="*/ 455634 w 2714189"/>
                <a:gd name="connsiteY42" fmla="*/ 1414735 h 1457354"/>
                <a:gd name="connsiteX43" fmla="*/ 286114 w 2714189"/>
                <a:gd name="connsiteY43" fmla="*/ 1457031 h 1457354"/>
                <a:gd name="connsiteX44" fmla="*/ 301 w 2714189"/>
                <a:gd name="connsiteY44" fmla="*/ 1151131 h 1457354"/>
                <a:gd name="connsiteX45" fmla="*/ 312747 w 2714189"/>
                <a:gd name="connsiteY45" fmla="*/ 872488 h 1457354"/>
                <a:gd name="connsiteX46" fmla="*/ 312924 w 2714189"/>
                <a:gd name="connsiteY46" fmla="*/ 872514 h 1457354"/>
                <a:gd name="connsiteX47" fmla="*/ 298104 w 2714189"/>
                <a:gd name="connsiteY47" fmla="*/ 853739 h 1457354"/>
                <a:gd name="connsiteX48" fmla="*/ 413958 w 2714189"/>
                <a:gd name="connsiteY48" fmla="*/ 524185 h 1457354"/>
                <a:gd name="connsiteX49" fmla="*/ 656094 w 2714189"/>
                <a:gd name="connsiteY49" fmla="*/ 491353 h 1457354"/>
                <a:gd name="connsiteX50" fmla="*/ 661724 w 2714189"/>
                <a:gd name="connsiteY50" fmla="*/ 494004 h 1457354"/>
                <a:gd name="connsiteX51" fmla="*/ 653203 w 2714189"/>
                <a:gd name="connsiteY51" fmla="*/ 459247 h 1457354"/>
                <a:gd name="connsiteX52" fmla="*/ 843233 w 2714189"/>
                <a:gd name="connsiteY52" fmla="*/ 181289 h 1457354"/>
                <a:gd name="connsiteX53" fmla="*/ 1054131 w 2714189"/>
                <a:gd name="connsiteY53" fmla="*/ 178832 h 1457354"/>
                <a:gd name="connsiteX54" fmla="*/ 1059168 w 2714189"/>
                <a:gd name="connsiteY54" fmla="*/ 181288 h 1457354"/>
                <a:gd name="connsiteX55" fmla="*/ 1059754 w 2714189"/>
                <a:gd name="connsiteY55" fmla="*/ 176862 h 1457354"/>
                <a:gd name="connsiteX56" fmla="*/ 1245038 w 2714189"/>
                <a:gd name="connsiteY56" fmla="*/ 13441 h 1457354"/>
                <a:gd name="connsiteX57" fmla="*/ 1308319 w 2714189"/>
                <a:gd name="connsiteY57" fmla="*/ 4952 h 1457354"/>
                <a:gd name="connsiteX58" fmla="*/ 1310232 w 2714189"/>
                <a:gd name="connsiteY58" fmla="*/ 4500 h 1457354"/>
                <a:gd name="connsiteX59" fmla="*/ 1313619 w 2714189"/>
                <a:gd name="connsiteY59" fmla="*/ 4241 h 145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714189" h="1457354">
                  <a:moveTo>
                    <a:pt x="1345230" y="0"/>
                  </a:moveTo>
                  <a:lnTo>
                    <a:pt x="1357095" y="909"/>
                  </a:lnTo>
                  <a:lnTo>
                    <a:pt x="1368959" y="0"/>
                  </a:lnTo>
                  <a:lnTo>
                    <a:pt x="1400570" y="4241"/>
                  </a:lnTo>
                  <a:lnTo>
                    <a:pt x="1403957" y="4500"/>
                  </a:lnTo>
                  <a:lnTo>
                    <a:pt x="1405870" y="4952"/>
                  </a:lnTo>
                  <a:lnTo>
                    <a:pt x="1469151" y="13441"/>
                  </a:lnTo>
                  <a:cubicBezTo>
                    <a:pt x="1562875" y="39527"/>
                    <a:pt x="1634056" y="101161"/>
                    <a:pt x="1654435" y="176862"/>
                  </a:cubicBezTo>
                  <a:lnTo>
                    <a:pt x="1655021" y="181288"/>
                  </a:lnTo>
                  <a:lnTo>
                    <a:pt x="1660058" y="178832"/>
                  </a:lnTo>
                  <a:cubicBezTo>
                    <a:pt x="1723025" y="155293"/>
                    <a:pt x="1798299" y="154252"/>
                    <a:pt x="1870956" y="181289"/>
                  </a:cubicBezTo>
                  <a:cubicBezTo>
                    <a:pt x="1998106" y="228604"/>
                    <a:pt x="2075110" y="346229"/>
                    <a:pt x="2060986" y="459247"/>
                  </a:cubicBezTo>
                  <a:lnTo>
                    <a:pt x="2052465" y="494004"/>
                  </a:lnTo>
                  <a:lnTo>
                    <a:pt x="2058094" y="491353"/>
                  </a:lnTo>
                  <a:cubicBezTo>
                    <a:pt x="2130173" y="466201"/>
                    <a:pt x="2220543" y="475774"/>
                    <a:pt x="2300231" y="524185"/>
                  </a:cubicBezTo>
                  <a:cubicBezTo>
                    <a:pt x="2427731" y="601641"/>
                    <a:pt x="2479600" y="749188"/>
                    <a:pt x="2416086" y="853739"/>
                  </a:cubicBezTo>
                  <a:lnTo>
                    <a:pt x="2401265" y="872514"/>
                  </a:lnTo>
                  <a:lnTo>
                    <a:pt x="2401442" y="872488"/>
                  </a:lnTo>
                  <a:cubicBezTo>
                    <a:pt x="2566647" y="864961"/>
                    <a:pt x="2706533" y="989714"/>
                    <a:pt x="2713888" y="1151131"/>
                  </a:cubicBezTo>
                  <a:cubicBezTo>
                    <a:pt x="2721242" y="1312548"/>
                    <a:pt x="2593279" y="1449504"/>
                    <a:pt x="2428074" y="1457031"/>
                  </a:cubicBezTo>
                  <a:cubicBezTo>
                    <a:pt x="2366123" y="1459853"/>
                    <a:pt x="2307732" y="1444074"/>
                    <a:pt x="2258555" y="1414735"/>
                  </a:cubicBezTo>
                  <a:lnTo>
                    <a:pt x="2226162" y="1390970"/>
                  </a:lnTo>
                  <a:lnTo>
                    <a:pt x="2179671" y="1421201"/>
                  </a:lnTo>
                  <a:cubicBezTo>
                    <a:pt x="2144630" y="1439210"/>
                    <a:pt x="2105696" y="1450059"/>
                    <a:pt x="2064395" y="1451941"/>
                  </a:cubicBezTo>
                  <a:cubicBezTo>
                    <a:pt x="1961143" y="1456645"/>
                    <a:pt x="1867529" y="1404188"/>
                    <a:pt x="1809851" y="1320543"/>
                  </a:cubicBezTo>
                  <a:lnTo>
                    <a:pt x="1807226" y="1315857"/>
                  </a:lnTo>
                  <a:lnTo>
                    <a:pt x="1769070" y="1321378"/>
                  </a:lnTo>
                  <a:cubicBezTo>
                    <a:pt x="1665818" y="1326083"/>
                    <a:pt x="1572455" y="1279115"/>
                    <a:pt x="1515157" y="1203819"/>
                  </a:cubicBezTo>
                  <a:lnTo>
                    <a:pt x="1495357" y="1171712"/>
                  </a:lnTo>
                  <a:lnTo>
                    <a:pt x="1442290" y="1190485"/>
                  </a:lnTo>
                  <a:cubicBezTo>
                    <a:pt x="1422994" y="1195265"/>
                    <a:pt x="1402926" y="1198228"/>
                    <a:pt x="1382275" y="1199169"/>
                  </a:cubicBezTo>
                  <a:lnTo>
                    <a:pt x="1357095" y="1197842"/>
                  </a:lnTo>
                  <a:lnTo>
                    <a:pt x="1331914" y="1199169"/>
                  </a:lnTo>
                  <a:cubicBezTo>
                    <a:pt x="1311263" y="1198228"/>
                    <a:pt x="1291195" y="1195265"/>
                    <a:pt x="1271899" y="1190485"/>
                  </a:cubicBezTo>
                  <a:lnTo>
                    <a:pt x="1218832" y="1171712"/>
                  </a:lnTo>
                  <a:lnTo>
                    <a:pt x="1199032" y="1203819"/>
                  </a:lnTo>
                  <a:cubicBezTo>
                    <a:pt x="1141734" y="1279115"/>
                    <a:pt x="1048371" y="1326083"/>
                    <a:pt x="945118" y="1321378"/>
                  </a:cubicBezTo>
                  <a:lnTo>
                    <a:pt x="906963" y="1315857"/>
                  </a:lnTo>
                  <a:lnTo>
                    <a:pt x="904338" y="1320543"/>
                  </a:lnTo>
                  <a:cubicBezTo>
                    <a:pt x="846660" y="1404188"/>
                    <a:pt x="753046" y="1456645"/>
                    <a:pt x="649794" y="1451941"/>
                  </a:cubicBezTo>
                  <a:cubicBezTo>
                    <a:pt x="608493" y="1450059"/>
                    <a:pt x="569559" y="1439210"/>
                    <a:pt x="534518" y="1421201"/>
                  </a:cubicBezTo>
                  <a:lnTo>
                    <a:pt x="488027" y="1390970"/>
                  </a:lnTo>
                  <a:lnTo>
                    <a:pt x="455634" y="1414735"/>
                  </a:lnTo>
                  <a:cubicBezTo>
                    <a:pt x="406457" y="1444074"/>
                    <a:pt x="348066" y="1459853"/>
                    <a:pt x="286114" y="1457031"/>
                  </a:cubicBezTo>
                  <a:cubicBezTo>
                    <a:pt x="120910" y="1449504"/>
                    <a:pt x="-7053" y="1312548"/>
                    <a:pt x="301" y="1151131"/>
                  </a:cubicBezTo>
                  <a:cubicBezTo>
                    <a:pt x="7656" y="989714"/>
                    <a:pt x="147542" y="864961"/>
                    <a:pt x="312747" y="872488"/>
                  </a:cubicBezTo>
                  <a:lnTo>
                    <a:pt x="312924" y="872514"/>
                  </a:lnTo>
                  <a:lnTo>
                    <a:pt x="298104" y="853739"/>
                  </a:lnTo>
                  <a:cubicBezTo>
                    <a:pt x="234588" y="749188"/>
                    <a:pt x="286458" y="601641"/>
                    <a:pt x="413958" y="524185"/>
                  </a:cubicBezTo>
                  <a:cubicBezTo>
                    <a:pt x="493646" y="475774"/>
                    <a:pt x="584016" y="466201"/>
                    <a:pt x="656094" y="491353"/>
                  </a:cubicBezTo>
                  <a:lnTo>
                    <a:pt x="661724" y="494004"/>
                  </a:lnTo>
                  <a:lnTo>
                    <a:pt x="653203" y="459247"/>
                  </a:lnTo>
                  <a:cubicBezTo>
                    <a:pt x="639079" y="346229"/>
                    <a:pt x="716083" y="228604"/>
                    <a:pt x="843233" y="181289"/>
                  </a:cubicBezTo>
                  <a:cubicBezTo>
                    <a:pt x="915890" y="154252"/>
                    <a:pt x="991164" y="155293"/>
                    <a:pt x="1054131" y="178832"/>
                  </a:cubicBezTo>
                  <a:lnTo>
                    <a:pt x="1059168" y="181288"/>
                  </a:lnTo>
                  <a:lnTo>
                    <a:pt x="1059754" y="176862"/>
                  </a:lnTo>
                  <a:cubicBezTo>
                    <a:pt x="1080133" y="101161"/>
                    <a:pt x="1151314" y="39527"/>
                    <a:pt x="1245038" y="13441"/>
                  </a:cubicBezTo>
                  <a:lnTo>
                    <a:pt x="1308319" y="4952"/>
                  </a:lnTo>
                  <a:lnTo>
                    <a:pt x="1310232" y="4500"/>
                  </a:lnTo>
                  <a:lnTo>
                    <a:pt x="1313619" y="424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70C1895-4FAC-0F16-EFEA-A223D12DB706}"/>
                </a:ext>
              </a:extLst>
            </p:cNvPr>
            <p:cNvSpPr/>
            <p:nvPr/>
          </p:nvSpPr>
          <p:spPr>
            <a:xfrm>
              <a:off x="10733693" y="4094414"/>
              <a:ext cx="841110" cy="1416176"/>
            </a:xfrm>
            <a:custGeom>
              <a:avLst/>
              <a:gdLst>
                <a:gd name="connsiteX0" fmla="*/ 335852 w 841110"/>
                <a:gd name="connsiteY0" fmla="*/ 0 h 1416176"/>
                <a:gd name="connsiteX1" fmla="*/ 420555 w 841110"/>
                <a:gd name="connsiteY1" fmla="*/ 19126 h 1416176"/>
                <a:gd name="connsiteX2" fmla="*/ 505258 w 841110"/>
                <a:gd name="connsiteY2" fmla="*/ 0 h 1416176"/>
                <a:gd name="connsiteX3" fmla="*/ 541642 w 841110"/>
                <a:gd name="connsiteY3" fmla="*/ 39183 h 1416176"/>
                <a:gd name="connsiteX4" fmla="*/ 547240 w 841110"/>
                <a:gd name="connsiteY4" fmla="*/ 251889 h 1416176"/>
                <a:gd name="connsiteX5" fmla="*/ 656391 w 841110"/>
                <a:gd name="connsiteY5" fmla="*/ 302267 h 1416176"/>
                <a:gd name="connsiteX6" fmla="*/ 790732 w 841110"/>
                <a:gd name="connsiteY6" fmla="*/ 128744 h 1416176"/>
                <a:gd name="connsiteX7" fmla="*/ 841110 w 841110"/>
                <a:gd name="connsiteY7" fmla="*/ 173524 h 1416176"/>
                <a:gd name="connsiteX8" fmla="*/ 550038 w 841110"/>
                <a:gd name="connsiteY8" fmla="*/ 733277 h 1416176"/>
                <a:gd name="connsiteX9" fmla="*/ 541642 w 841110"/>
                <a:gd name="connsiteY9" fmla="*/ 1018751 h 1416176"/>
                <a:gd name="connsiteX10" fmla="*/ 547240 w 841110"/>
                <a:gd name="connsiteY10" fmla="*/ 1343408 h 1416176"/>
                <a:gd name="connsiteX11" fmla="*/ 572428 w 841110"/>
                <a:gd name="connsiteY11" fmla="*/ 1410579 h 1416176"/>
                <a:gd name="connsiteX12" fmla="*/ 431006 w 841110"/>
                <a:gd name="connsiteY12" fmla="*/ 1415455 h 1416176"/>
                <a:gd name="connsiteX13" fmla="*/ 431010 w 841110"/>
                <a:gd name="connsiteY13" fmla="*/ 1416176 h 1416176"/>
                <a:gd name="connsiteX14" fmla="*/ 420555 w 841110"/>
                <a:gd name="connsiteY14" fmla="*/ 1415816 h 1416176"/>
                <a:gd name="connsiteX15" fmla="*/ 410100 w 841110"/>
                <a:gd name="connsiteY15" fmla="*/ 1416176 h 1416176"/>
                <a:gd name="connsiteX16" fmla="*/ 410104 w 841110"/>
                <a:gd name="connsiteY16" fmla="*/ 1415455 h 1416176"/>
                <a:gd name="connsiteX17" fmla="*/ 268682 w 841110"/>
                <a:gd name="connsiteY17" fmla="*/ 1410579 h 1416176"/>
                <a:gd name="connsiteX18" fmla="*/ 293870 w 841110"/>
                <a:gd name="connsiteY18" fmla="*/ 1343408 h 1416176"/>
                <a:gd name="connsiteX19" fmla="*/ 299468 w 841110"/>
                <a:gd name="connsiteY19" fmla="*/ 1018751 h 1416176"/>
                <a:gd name="connsiteX20" fmla="*/ 291072 w 841110"/>
                <a:gd name="connsiteY20" fmla="*/ 733277 h 1416176"/>
                <a:gd name="connsiteX21" fmla="*/ 0 w 841110"/>
                <a:gd name="connsiteY21" fmla="*/ 173524 h 1416176"/>
                <a:gd name="connsiteX22" fmla="*/ 50378 w 841110"/>
                <a:gd name="connsiteY22" fmla="*/ 128744 h 1416176"/>
                <a:gd name="connsiteX23" fmla="*/ 184719 w 841110"/>
                <a:gd name="connsiteY23" fmla="*/ 302267 h 1416176"/>
                <a:gd name="connsiteX24" fmla="*/ 293870 w 841110"/>
                <a:gd name="connsiteY24" fmla="*/ 251889 h 1416176"/>
                <a:gd name="connsiteX25" fmla="*/ 299468 w 841110"/>
                <a:gd name="connsiteY25" fmla="*/ 39183 h 1416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41110" h="1416176">
                  <a:moveTo>
                    <a:pt x="335852" y="0"/>
                  </a:moveTo>
                  <a:lnTo>
                    <a:pt x="420555" y="19126"/>
                  </a:lnTo>
                  <a:lnTo>
                    <a:pt x="505258" y="0"/>
                  </a:lnTo>
                  <a:lnTo>
                    <a:pt x="541642" y="39183"/>
                  </a:lnTo>
                  <a:cubicBezTo>
                    <a:pt x="542575" y="109152"/>
                    <a:pt x="546307" y="181920"/>
                    <a:pt x="547240" y="251889"/>
                  </a:cubicBezTo>
                  <a:cubicBezTo>
                    <a:pt x="600416" y="327456"/>
                    <a:pt x="620007" y="285474"/>
                    <a:pt x="656391" y="302267"/>
                  </a:cubicBezTo>
                  <a:lnTo>
                    <a:pt x="790732" y="128744"/>
                  </a:lnTo>
                  <a:lnTo>
                    <a:pt x="841110" y="173524"/>
                  </a:lnTo>
                  <a:cubicBezTo>
                    <a:pt x="744086" y="360108"/>
                    <a:pt x="624672" y="535497"/>
                    <a:pt x="550038" y="733277"/>
                  </a:cubicBezTo>
                  <a:cubicBezTo>
                    <a:pt x="530447" y="848027"/>
                    <a:pt x="544441" y="923593"/>
                    <a:pt x="541642" y="1018751"/>
                  </a:cubicBezTo>
                  <a:lnTo>
                    <a:pt x="547240" y="1343408"/>
                  </a:lnTo>
                  <a:lnTo>
                    <a:pt x="572428" y="1410579"/>
                  </a:lnTo>
                  <a:lnTo>
                    <a:pt x="431006" y="1415455"/>
                  </a:lnTo>
                  <a:lnTo>
                    <a:pt x="431010" y="1416176"/>
                  </a:lnTo>
                  <a:lnTo>
                    <a:pt x="420555" y="1415816"/>
                  </a:lnTo>
                  <a:lnTo>
                    <a:pt x="410100" y="1416176"/>
                  </a:lnTo>
                  <a:lnTo>
                    <a:pt x="410104" y="1415455"/>
                  </a:lnTo>
                  <a:lnTo>
                    <a:pt x="268682" y="1410579"/>
                  </a:lnTo>
                  <a:lnTo>
                    <a:pt x="293870" y="1343408"/>
                  </a:lnTo>
                  <a:lnTo>
                    <a:pt x="299468" y="1018751"/>
                  </a:lnTo>
                  <a:cubicBezTo>
                    <a:pt x="296669" y="923593"/>
                    <a:pt x="310663" y="848027"/>
                    <a:pt x="291072" y="733277"/>
                  </a:cubicBezTo>
                  <a:cubicBezTo>
                    <a:pt x="216438" y="535497"/>
                    <a:pt x="97024" y="360108"/>
                    <a:pt x="0" y="173524"/>
                  </a:cubicBezTo>
                  <a:lnTo>
                    <a:pt x="50378" y="128744"/>
                  </a:lnTo>
                  <a:lnTo>
                    <a:pt x="184719" y="302267"/>
                  </a:lnTo>
                  <a:cubicBezTo>
                    <a:pt x="221103" y="285474"/>
                    <a:pt x="240694" y="327456"/>
                    <a:pt x="293870" y="251889"/>
                  </a:cubicBezTo>
                  <a:cubicBezTo>
                    <a:pt x="294803" y="181920"/>
                    <a:pt x="298535" y="109152"/>
                    <a:pt x="299468" y="39183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A4DA484-CF60-4174-6566-4A64752EE620}"/>
              </a:ext>
            </a:extLst>
          </p:cNvPr>
          <p:cNvGrpSpPr/>
          <p:nvPr/>
        </p:nvGrpSpPr>
        <p:grpSpPr>
          <a:xfrm>
            <a:off x="9604983" y="4948307"/>
            <a:ext cx="1268822" cy="1252194"/>
            <a:chOff x="9790816" y="2831970"/>
            <a:chExt cx="2714189" cy="2678620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53097E6-7975-FD4D-72CC-A1B615BF59CE}"/>
                </a:ext>
              </a:extLst>
            </p:cNvPr>
            <p:cNvSpPr/>
            <p:nvPr/>
          </p:nvSpPr>
          <p:spPr>
            <a:xfrm>
              <a:off x="9790816" y="2831970"/>
              <a:ext cx="2714189" cy="1457354"/>
            </a:xfrm>
            <a:custGeom>
              <a:avLst/>
              <a:gdLst>
                <a:gd name="connsiteX0" fmla="*/ 1345230 w 2714189"/>
                <a:gd name="connsiteY0" fmla="*/ 0 h 1457354"/>
                <a:gd name="connsiteX1" fmla="*/ 1357095 w 2714189"/>
                <a:gd name="connsiteY1" fmla="*/ 909 h 1457354"/>
                <a:gd name="connsiteX2" fmla="*/ 1368959 w 2714189"/>
                <a:gd name="connsiteY2" fmla="*/ 0 h 1457354"/>
                <a:gd name="connsiteX3" fmla="*/ 1400570 w 2714189"/>
                <a:gd name="connsiteY3" fmla="*/ 4241 h 1457354"/>
                <a:gd name="connsiteX4" fmla="*/ 1403957 w 2714189"/>
                <a:gd name="connsiteY4" fmla="*/ 4500 h 1457354"/>
                <a:gd name="connsiteX5" fmla="*/ 1405870 w 2714189"/>
                <a:gd name="connsiteY5" fmla="*/ 4952 h 1457354"/>
                <a:gd name="connsiteX6" fmla="*/ 1469151 w 2714189"/>
                <a:gd name="connsiteY6" fmla="*/ 13441 h 1457354"/>
                <a:gd name="connsiteX7" fmla="*/ 1654435 w 2714189"/>
                <a:gd name="connsiteY7" fmla="*/ 176862 h 1457354"/>
                <a:gd name="connsiteX8" fmla="*/ 1655021 w 2714189"/>
                <a:gd name="connsiteY8" fmla="*/ 181288 h 1457354"/>
                <a:gd name="connsiteX9" fmla="*/ 1660058 w 2714189"/>
                <a:gd name="connsiteY9" fmla="*/ 178832 h 1457354"/>
                <a:gd name="connsiteX10" fmla="*/ 1870956 w 2714189"/>
                <a:gd name="connsiteY10" fmla="*/ 181289 h 1457354"/>
                <a:gd name="connsiteX11" fmla="*/ 2060986 w 2714189"/>
                <a:gd name="connsiteY11" fmla="*/ 459247 h 1457354"/>
                <a:gd name="connsiteX12" fmla="*/ 2052465 w 2714189"/>
                <a:gd name="connsiteY12" fmla="*/ 494004 h 1457354"/>
                <a:gd name="connsiteX13" fmla="*/ 2058094 w 2714189"/>
                <a:gd name="connsiteY13" fmla="*/ 491353 h 1457354"/>
                <a:gd name="connsiteX14" fmla="*/ 2300231 w 2714189"/>
                <a:gd name="connsiteY14" fmla="*/ 524185 h 1457354"/>
                <a:gd name="connsiteX15" fmla="*/ 2416086 w 2714189"/>
                <a:gd name="connsiteY15" fmla="*/ 853739 h 1457354"/>
                <a:gd name="connsiteX16" fmla="*/ 2401265 w 2714189"/>
                <a:gd name="connsiteY16" fmla="*/ 872514 h 1457354"/>
                <a:gd name="connsiteX17" fmla="*/ 2401442 w 2714189"/>
                <a:gd name="connsiteY17" fmla="*/ 872488 h 1457354"/>
                <a:gd name="connsiteX18" fmla="*/ 2713888 w 2714189"/>
                <a:gd name="connsiteY18" fmla="*/ 1151131 h 1457354"/>
                <a:gd name="connsiteX19" fmla="*/ 2428074 w 2714189"/>
                <a:gd name="connsiteY19" fmla="*/ 1457031 h 1457354"/>
                <a:gd name="connsiteX20" fmla="*/ 2258555 w 2714189"/>
                <a:gd name="connsiteY20" fmla="*/ 1414735 h 1457354"/>
                <a:gd name="connsiteX21" fmla="*/ 2226162 w 2714189"/>
                <a:gd name="connsiteY21" fmla="*/ 1390970 h 1457354"/>
                <a:gd name="connsiteX22" fmla="*/ 2179671 w 2714189"/>
                <a:gd name="connsiteY22" fmla="*/ 1421201 h 1457354"/>
                <a:gd name="connsiteX23" fmla="*/ 2064395 w 2714189"/>
                <a:gd name="connsiteY23" fmla="*/ 1451941 h 1457354"/>
                <a:gd name="connsiteX24" fmla="*/ 1809851 w 2714189"/>
                <a:gd name="connsiteY24" fmla="*/ 1320543 h 1457354"/>
                <a:gd name="connsiteX25" fmla="*/ 1807226 w 2714189"/>
                <a:gd name="connsiteY25" fmla="*/ 1315857 h 1457354"/>
                <a:gd name="connsiteX26" fmla="*/ 1769070 w 2714189"/>
                <a:gd name="connsiteY26" fmla="*/ 1321378 h 1457354"/>
                <a:gd name="connsiteX27" fmla="*/ 1515157 w 2714189"/>
                <a:gd name="connsiteY27" fmla="*/ 1203819 h 1457354"/>
                <a:gd name="connsiteX28" fmla="*/ 1495357 w 2714189"/>
                <a:gd name="connsiteY28" fmla="*/ 1171712 h 1457354"/>
                <a:gd name="connsiteX29" fmla="*/ 1442290 w 2714189"/>
                <a:gd name="connsiteY29" fmla="*/ 1190485 h 1457354"/>
                <a:gd name="connsiteX30" fmla="*/ 1382275 w 2714189"/>
                <a:gd name="connsiteY30" fmla="*/ 1199169 h 1457354"/>
                <a:gd name="connsiteX31" fmla="*/ 1357095 w 2714189"/>
                <a:gd name="connsiteY31" fmla="*/ 1197842 h 1457354"/>
                <a:gd name="connsiteX32" fmla="*/ 1331914 w 2714189"/>
                <a:gd name="connsiteY32" fmla="*/ 1199169 h 1457354"/>
                <a:gd name="connsiteX33" fmla="*/ 1271899 w 2714189"/>
                <a:gd name="connsiteY33" fmla="*/ 1190485 h 1457354"/>
                <a:gd name="connsiteX34" fmla="*/ 1218832 w 2714189"/>
                <a:gd name="connsiteY34" fmla="*/ 1171712 h 1457354"/>
                <a:gd name="connsiteX35" fmla="*/ 1199032 w 2714189"/>
                <a:gd name="connsiteY35" fmla="*/ 1203819 h 1457354"/>
                <a:gd name="connsiteX36" fmla="*/ 945118 w 2714189"/>
                <a:gd name="connsiteY36" fmla="*/ 1321378 h 1457354"/>
                <a:gd name="connsiteX37" fmla="*/ 906963 w 2714189"/>
                <a:gd name="connsiteY37" fmla="*/ 1315857 h 1457354"/>
                <a:gd name="connsiteX38" fmla="*/ 904338 w 2714189"/>
                <a:gd name="connsiteY38" fmla="*/ 1320543 h 1457354"/>
                <a:gd name="connsiteX39" fmla="*/ 649794 w 2714189"/>
                <a:gd name="connsiteY39" fmla="*/ 1451941 h 1457354"/>
                <a:gd name="connsiteX40" fmla="*/ 534518 w 2714189"/>
                <a:gd name="connsiteY40" fmla="*/ 1421201 h 1457354"/>
                <a:gd name="connsiteX41" fmla="*/ 488027 w 2714189"/>
                <a:gd name="connsiteY41" fmla="*/ 1390970 h 1457354"/>
                <a:gd name="connsiteX42" fmla="*/ 455634 w 2714189"/>
                <a:gd name="connsiteY42" fmla="*/ 1414735 h 1457354"/>
                <a:gd name="connsiteX43" fmla="*/ 286114 w 2714189"/>
                <a:gd name="connsiteY43" fmla="*/ 1457031 h 1457354"/>
                <a:gd name="connsiteX44" fmla="*/ 301 w 2714189"/>
                <a:gd name="connsiteY44" fmla="*/ 1151131 h 1457354"/>
                <a:gd name="connsiteX45" fmla="*/ 312747 w 2714189"/>
                <a:gd name="connsiteY45" fmla="*/ 872488 h 1457354"/>
                <a:gd name="connsiteX46" fmla="*/ 312924 w 2714189"/>
                <a:gd name="connsiteY46" fmla="*/ 872514 h 1457354"/>
                <a:gd name="connsiteX47" fmla="*/ 298104 w 2714189"/>
                <a:gd name="connsiteY47" fmla="*/ 853739 h 1457354"/>
                <a:gd name="connsiteX48" fmla="*/ 413958 w 2714189"/>
                <a:gd name="connsiteY48" fmla="*/ 524185 h 1457354"/>
                <a:gd name="connsiteX49" fmla="*/ 656094 w 2714189"/>
                <a:gd name="connsiteY49" fmla="*/ 491353 h 1457354"/>
                <a:gd name="connsiteX50" fmla="*/ 661724 w 2714189"/>
                <a:gd name="connsiteY50" fmla="*/ 494004 h 1457354"/>
                <a:gd name="connsiteX51" fmla="*/ 653203 w 2714189"/>
                <a:gd name="connsiteY51" fmla="*/ 459247 h 1457354"/>
                <a:gd name="connsiteX52" fmla="*/ 843233 w 2714189"/>
                <a:gd name="connsiteY52" fmla="*/ 181289 h 1457354"/>
                <a:gd name="connsiteX53" fmla="*/ 1054131 w 2714189"/>
                <a:gd name="connsiteY53" fmla="*/ 178832 h 1457354"/>
                <a:gd name="connsiteX54" fmla="*/ 1059168 w 2714189"/>
                <a:gd name="connsiteY54" fmla="*/ 181288 h 1457354"/>
                <a:gd name="connsiteX55" fmla="*/ 1059754 w 2714189"/>
                <a:gd name="connsiteY55" fmla="*/ 176862 h 1457354"/>
                <a:gd name="connsiteX56" fmla="*/ 1245038 w 2714189"/>
                <a:gd name="connsiteY56" fmla="*/ 13441 h 1457354"/>
                <a:gd name="connsiteX57" fmla="*/ 1308319 w 2714189"/>
                <a:gd name="connsiteY57" fmla="*/ 4952 h 1457354"/>
                <a:gd name="connsiteX58" fmla="*/ 1310232 w 2714189"/>
                <a:gd name="connsiteY58" fmla="*/ 4500 h 1457354"/>
                <a:gd name="connsiteX59" fmla="*/ 1313619 w 2714189"/>
                <a:gd name="connsiteY59" fmla="*/ 4241 h 145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714189" h="1457354">
                  <a:moveTo>
                    <a:pt x="1345230" y="0"/>
                  </a:moveTo>
                  <a:lnTo>
                    <a:pt x="1357095" y="909"/>
                  </a:lnTo>
                  <a:lnTo>
                    <a:pt x="1368959" y="0"/>
                  </a:lnTo>
                  <a:lnTo>
                    <a:pt x="1400570" y="4241"/>
                  </a:lnTo>
                  <a:lnTo>
                    <a:pt x="1403957" y="4500"/>
                  </a:lnTo>
                  <a:lnTo>
                    <a:pt x="1405870" y="4952"/>
                  </a:lnTo>
                  <a:lnTo>
                    <a:pt x="1469151" y="13441"/>
                  </a:lnTo>
                  <a:cubicBezTo>
                    <a:pt x="1562875" y="39527"/>
                    <a:pt x="1634056" y="101161"/>
                    <a:pt x="1654435" y="176862"/>
                  </a:cubicBezTo>
                  <a:lnTo>
                    <a:pt x="1655021" y="181288"/>
                  </a:lnTo>
                  <a:lnTo>
                    <a:pt x="1660058" y="178832"/>
                  </a:lnTo>
                  <a:cubicBezTo>
                    <a:pt x="1723025" y="155293"/>
                    <a:pt x="1798299" y="154252"/>
                    <a:pt x="1870956" y="181289"/>
                  </a:cubicBezTo>
                  <a:cubicBezTo>
                    <a:pt x="1998106" y="228604"/>
                    <a:pt x="2075110" y="346229"/>
                    <a:pt x="2060986" y="459247"/>
                  </a:cubicBezTo>
                  <a:lnTo>
                    <a:pt x="2052465" y="494004"/>
                  </a:lnTo>
                  <a:lnTo>
                    <a:pt x="2058094" y="491353"/>
                  </a:lnTo>
                  <a:cubicBezTo>
                    <a:pt x="2130173" y="466201"/>
                    <a:pt x="2220543" y="475774"/>
                    <a:pt x="2300231" y="524185"/>
                  </a:cubicBezTo>
                  <a:cubicBezTo>
                    <a:pt x="2427731" y="601641"/>
                    <a:pt x="2479600" y="749188"/>
                    <a:pt x="2416086" y="853739"/>
                  </a:cubicBezTo>
                  <a:lnTo>
                    <a:pt x="2401265" y="872514"/>
                  </a:lnTo>
                  <a:lnTo>
                    <a:pt x="2401442" y="872488"/>
                  </a:lnTo>
                  <a:cubicBezTo>
                    <a:pt x="2566647" y="864961"/>
                    <a:pt x="2706533" y="989714"/>
                    <a:pt x="2713888" y="1151131"/>
                  </a:cubicBezTo>
                  <a:cubicBezTo>
                    <a:pt x="2721242" y="1312548"/>
                    <a:pt x="2593279" y="1449504"/>
                    <a:pt x="2428074" y="1457031"/>
                  </a:cubicBezTo>
                  <a:cubicBezTo>
                    <a:pt x="2366123" y="1459853"/>
                    <a:pt x="2307732" y="1444074"/>
                    <a:pt x="2258555" y="1414735"/>
                  </a:cubicBezTo>
                  <a:lnTo>
                    <a:pt x="2226162" y="1390970"/>
                  </a:lnTo>
                  <a:lnTo>
                    <a:pt x="2179671" y="1421201"/>
                  </a:lnTo>
                  <a:cubicBezTo>
                    <a:pt x="2144630" y="1439210"/>
                    <a:pt x="2105696" y="1450059"/>
                    <a:pt x="2064395" y="1451941"/>
                  </a:cubicBezTo>
                  <a:cubicBezTo>
                    <a:pt x="1961143" y="1456645"/>
                    <a:pt x="1867529" y="1404188"/>
                    <a:pt x="1809851" y="1320543"/>
                  </a:cubicBezTo>
                  <a:lnTo>
                    <a:pt x="1807226" y="1315857"/>
                  </a:lnTo>
                  <a:lnTo>
                    <a:pt x="1769070" y="1321378"/>
                  </a:lnTo>
                  <a:cubicBezTo>
                    <a:pt x="1665818" y="1326083"/>
                    <a:pt x="1572455" y="1279115"/>
                    <a:pt x="1515157" y="1203819"/>
                  </a:cubicBezTo>
                  <a:lnTo>
                    <a:pt x="1495357" y="1171712"/>
                  </a:lnTo>
                  <a:lnTo>
                    <a:pt x="1442290" y="1190485"/>
                  </a:lnTo>
                  <a:cubicBezTo>
                    <a:pt x="1422994" y="1195265"/>
                    <a:pt x="1402926" y="1198228"/>
                    <a:pt x="1382275" y="1199169"/>
                  </a:cubicBezTo>
                  <a:lnTo>
                    <a:pt x="1357095" y="1197842"/>
                  </a:lnTo>
                  <a:lnTo>
                    <a:pt x="1331914" y="1199169"/>
                  </a:lnTo>
                  <a:cubicBezTo>
                    <a:pt x="1311263" y="1198228"/>
                    <a:pt x="1291195" y="1195265"/>
                    <a:pt x="1271899" y="1190485"/>
                  </a:cubicBezTo>
                  <a:lnTo>
                    <a:pt x="1218832" y="1171712"/>
                  </a:lnTo>
                  <a:lnTo>
                    <a:pt x="1199032" y="1203819"/>
                  </a:lnTo>
                  <a:cubicBezTo>
                    <a:pt x="1141734" y="1279115"/>
                    <a:pt x="1048371" y="1326083"/>
                    <a:pt x="945118" y="1321378"/>
                  </a:cubicBezTo>
                  <a:lnTo>
                    <a:pt x="906963" y="1315857"/>
                  </a:lnTo>
                  <a:lnTo>
                    <a:pt x="904338" y="1320543"/>
                  </a:lnTo>
                  <a:cubicBezTo>
                    <a:pt x="846660" y="1404188"/>
                    <a:pt x="753046" y="1456645"/>
                    <a:pt x="649794" y="1451941"/>
                  </a:cubicBezTo>
                  <a:cubicBezTo>
                    <a:pt x="608493" y="1450059"/>
                    <a:pt x="569559" y="1439210"/>
                    <a:pt x="534518" y="1421201"/>
                  </a:cubicBezTo>
                  <a:lnTo>
                    <a:pt x="488027" y="1390970"/>
                  </a:lnTo>
                  <a:lnTo>
                    <a:pt x="455634" y="1414735"/>
                  </a:lnTo>
                  <a:cubicBezTo>
                    <a:pt x="406457" y="1444074"/>
                    <a:pt x="348066" y="1459853"/>
                    <a:pt x="286114" y="1457031"/>
                  </a:cubicBezTo>
                  <a:cubicBezTo>
                    <a:pt x="120910" y="1449504"/>
                    <a:pt x="-7053" y="1312548"/>
                    <a:pt x="301" y="1151131"/>
                  </a:cubicBezTo>
                  <a:cubicBezTo>
                    <a:pt x="7656" y="989714"/>
                    <a:pt x="147542" y="864961"/>
                    <a:pt x="312747" y="872488"/>
                  </a:cubicBezTo>
                  <a:lnTo>
                    <a:pt x="312924" y="872514"/>
                  </a:lnTo>
                  <a:lnTo>
                    <a:pt x="298104" y="853739"/>
                  </a:lnTo>
                  <a:cubicBezTo>
                    <a:pt x="234588" y="749188"/>
                    <a:pt x="286458" y="601641"/>
                    <a:pt x="413958" y="524185"/>
                  </a:cubicBezTo>
                  <a:cubicBezTo>
                    <a:pt x="493646" y="475774"/>
                    <a:pt x="584016" y="466201"/>
                    <a:pt x="656094" y="491353"/>
                  </a:cubicBezTo>
                  <a:lnTo>
                    <a:pt x="661724" y="494004"/>
                  </a:lnTo>
                  <a:lnTo>
                    <a:pt x="653203" y="459247"/>
                  </a:lnTo>
                  <a:cubicBezTo>
                    <a:pt x="639079" y="346229"/>
                    <a:pt x="716083" y="228604"/>
                    <a:pt x="843233" y="181289"/>
                  </a:cubicBezTo>
                  <a:cubicBezTo>
                    <a:pt x="915890" y="154252"/>
                    <a:pt x="991164" y="155293"/>
                    <a:pt x="1054131" y="178832"/>
                  </a:cubicBezTo>
                  <a:lnTo>
                    <a:pt x="1059168" y="181288"/>
                  </a:lnTo>
                  <a:lnTo>
                    <a:pt x="1059754" y="176862"/>
                  </a:lnTo>
                  <a:cubicBezTo>
                    <a:pt x="1080133" y="101161"/>
                    <a:pt x="1151314" y="39527"/>
                    <a:pt x="1245038" y="13441"/>
                  </a:cubicBezTo>
                  <a:lnTo>
                    <a:pt x="1308319" y="4952"/>
                  </a:lnTo>
                  <a:lnTo>
                    <a:pt x="1310232" y="4500"/>
                  </a:lnTo>
                  <a:lnTo>
                    <a:pt x="1313619" y="424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1ED1EA4-19B6-D5B2-10D9-9B3C36C0E418}"/>
                </a:ext>
              </a:extLst>
            </p:cNvPr>
            <p:cNvSpPr/>
            <p:nvPr/>
          </p:nvSpPr>
          <p:spPr>
            <a:xfrm>
              <a:off x="10733693" y="4094414"/>
              <a:ext cx="841110" cy="1416176"/>
            </a:xfrm>
            <a:custGeom>
              <a:avLst/>
              <a:gdLst>
                <a:gd name="connsiteX0" fmla="*/ 335852 w 841110"/>
                <a:gd name="connsiteY0" fmla="*/ 0 h 1416176"/>
                <a:gd name="connsiteX1" fmla="*/ 420555 w 841110"/>
                <a:gd name="connsiteY1" fmla="*/ 19126 h 1416176"/>
                <a:gd name="connsiteX2" fmla="*/ 505258 w 841110"/>
                <a:gd name="connsiteY2" fmla="*/ 0 h 1416176"/>
                <a:gd name="connsiteX3" fmla="*/ 541642 w 841110"/>
                <a:gd name="connsiteY3" fmla="*/ 39183 h 1416176"/>
                <a:gd name="connsiteX4" fmla="*/ 547240 w 841110"/>
                <a:gd name="connsiteY4" fmla="*/ 251889 h 1416176"/>
                <a:gd name="connsiteX5" fmla="*/ 656391 w 841110"/>
                <a:gd name="connsiteY5" fmla="*/ 302267 h 1416176"/>
                <a:gd name="connsiteX6" fmla="*/ 790732 w 841110"/>
                <a:gd name="connsiteY6" fmla="*/ 128744 h 1416176"/>
                <a:gd name="connsiteX7" fmla="*/ 841110 w 841110"/>
                <a:gd name="connsiteY7" fmla="*/ 173524 h 1416176"/>
                <a:gd name="connsiteX8" fmla="*/ 550038 w 841110"/>
                <a:gd name="connsiteY8" fmla="*/ 733277 h 1416176"/>
                <a:gd name="connsiteX9" fmla="*/ 541642 w 841110"/>
                <a:gd name="connsiteY9" fmla="*/ 1018751 h 1416176"/>
                <a:gd name="connsiteX10" fmla="*/ 547240 w 841110"/>
                <a:gd name="connsiteY10" fmla="*/ 1343408 h 1416176"/>
                <a:gd name="connsiteX11" fmla="*/ 572428 w 841110"/>
                <a:gd name="connsiteY11" fmla="*/ 1410579 h 1416176"/>
                <a:gd name="connsiteX12" fmla="*/ 431006 w 841110"/>
                <a:gd name="connsiteY12" fmla="*/ 1415455 h 1416176"/>
                <a:gd name="connsiteX13" fmla="*/ 431010 w 841110"/>
                <a:gd name="connsiteY13" fmla="*/ 1416176 h 1416176"/>
                <a:gd name="connsiteX14" fmla="*/ 420555 w 841110"/>
                <a:gd name="connsiteY14" fmla="*/ 1415816 h 1416176"/>
                <a:gd name="connsiteX15" fmla="*/ 410100 w 841110"/>
                <a:gd name="connsiteY15" fmla="*/ 1416176 h 1416176"/>
                <a:gd name="connsiteX16" fmla="*/ 410104 w 841110"/>
                <a:gd name="connsiteY16" fmla="*/ 1415455 h 1416176"/>
                <a:gd name="connsiteX17" fmla="*/ 268682 w 841110"/>
                <a:gd name="connsiteY17" fmla="*/ 1410579 h 1416176"/>
                <a:gd name="connsiteX18" fmla="*/ 293870 w 841110"/>
                <a:gd name="connsiteY18" fmla="*/ 1343408 h 1416176"/>
                <a:gd name="connsiteX19" fmla="*/ 299468 w 841110"/>
                <a:gd name="connsiteY19" fmla="*/ 1018751 h 1416176"/>
                <a:gd name="connsiteX20" fmla="*/ 291072 w 841110"/>
                <a:gd name="connsiteY20" fmla="*/ 733277 h 1416176"/>
                <a:gd name="connsiteX21" fmla="*/ 0 w 841110"/>
                <a:gd name="connsiteY21" fmla="*/ 173524 h 1416176"/>
                <a:gd name="connsiteX22" fmla="*/ 50378 w 841110"/>
                <a:gd name="connsiteY22" fmla="*/ 128744 h 1416176"/>
                <a:gd name="connsiteX23" fmla="*/ 184719 w 841110"/>
                <a:gd name="connsiteY23" fmla="*/ 302267 h 1416176"/>
                <a:gd name="connsiteX24" fmla="*/ 293870 w 841110"/>
                <a:gd name="connsiteY24" fmla="*/ 251889 h 1416176"/>
                <a:gd name="connsiteX25" fmla="*/ 299468 w 841110"/>
                <a:gd name="connsiteY25" fmla="*/ 39183 h 1416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41110" h="1416176">
                  <a:moveTo>
                    <a:pt x="335852" y="0"/>
                  </a:moveTo>
                  <a:lnTo>
                    <a:pt x="420555" y="19126"/>
                  </a:lnTo>
                  <a:lnTo>
                    <a:pt x="505258" y="0"/>
                  </a:lnTo>
                  <a:lnTo>
                    <a:pt x="541642" y="39183"/>
                  </a:lnTo>
                  <a:cubicBezTo>
                    <a:pt x="542575" y="109152"/>
                    <a:pt x="546307" y="181920"/>
                    <a:pt x="547240" y="251889"/>
                  </a:cubicBezTo>
                  <a:cubicBezTo>
                    <a:pt x="600416" y="327456"/>
                    <a:pt x="620007" y="285474"/>
                    <a:pt x="656391" y="302267"/>
                  </a:cubicBezTo>
                  <a:lnTo>
                    <a:pt x="790732" y="128744"/>
                  </a:lnTo>
                  <a:lnTo>
                    <a:pt x="841110" y="173524"/>
                  </a:lnTo>
                  <a:cubicBezTo>
                    <a:pt x="744086" y="360108"/>
                    <a:pt x="624672" y="535497"/>
                    <a:pt x="550038" y="733277"/>
                  </a:cubicBezTo>
                  <a:cubicBezTo>
                    <a:pt x="530447" y="848027"/>
                    <a:pt x="544441" y="923593"/>
                    <a:pt x="541642" y="1018751"/>
                  </a:cubicBezTo>
                  <a:lnTo>
                    <a:pt x="547240" y="1343408"/>
                  </a:lnTo>
                  <a:lnTo>
                    <a:pt x="572428" y="1410579"/>
                  </a:lnTo>
                  <a:lnTo>
                    <a:pt x="431006" y="1415455"/>
                  </a:lnTo>
                  <a:lnTo>
                    <a:pt x="431010" y="1416176"/>
                  </a:lnTo>
                  <a:lnTo>
                    <a:pt x="420555" y="1415816"/>
                  </a:lnTo>
                  <a:lnTo>
                    <a:pt x="410100" y="1416176"/>
                  </a:lnTo>
                  <a:lnTo>
                    <a:pt x="410104" y="1415455"/>
                  </a:lnTo>
                  <a:lnTo>
                    <a:pt x="268682" y="1410579"/>
                  </a:lnTo>
                  <a:lnTo>
                    <a:pt x="293870" y="1343408"/>
                  </a:lnTo>
                  <a:lnTo>
                    <a:pt x="299468" y="1018751"/>
                  </a:lnTo>
                  <a:cubicBezTo>
                    <a:pt x="296669" y="923593"/>
                    <a:pt x="310663" y="848027"/>
                    <a:pt x="291072" y="733277"/>
                  </a:cubicBezTo>
                  <a:cubicBezTo>
                    <a:pt x="216438" y="535497"/>
                    <a:pt x="97024" y="360108"/>
                    <a:pt x="0" y="173524"/>
                  </a:cubicBezTo>
                  <a:lnTo>
                    <a:pt x="50378" y="128744"/>
                  </a:lnTo>
                  <a:lnTo>
                    <a:pt x="184719" y="302267"/>
                  </a:lnTo>
                  <a:cubicBezTo>
                    <a:pt x="221103" y="285474"/>
                    <a:pt x="240694" y="327456"/>
                    <a:pt x="293870" y="251889"/>
                  </a:cubicBezTo>
                  <a:cubicBezTo>
                    <a:pt x="294803" y="181920"/>
                    <a:pt x="298535" y="109152"/>
                    <a:pt x="299468" y="39183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B035AC2-4B9C-E397-B24C-4A4B3CCE27A8}"/>
              </a:ext>
            </a:extLst>
          </p:cNvPr>
          <p:cNvGrpSpPr/>
          <p:nvPr/>
        </p:nvGrpSpPr>
        <p:grpSpPr>
          <a:xfrm>
            <a:off x="10783963" y="5620384"/>
            <a:ext cx="674282" cy="612839"/>
            <a:chOff x="3901708" y="610042"/>
            <a:chExt cx="1805294" cy="1640789"/>
          </a:xfrm>
        </p:grpSpPr>
        <p:sp>
          <p:nvSpPr>
            <p:cNvPr id="45" name="Cube 44">
              <a:extLst>
                <a:ext uri="{FF2B5EF4-FFF2-40B4-BE49-F238E27FC236}">
                  <a16:creationId xmlns:a16="http://schemas.microsoft.com/office/drawing/2014/main" id="{707B0BF3-DE5E-6B6C-AC70-EA3070529068}"/>
                </a:ext>
              </a:extLst>
            </p:cNvPr>
            <p:cNvSpPr/>
            <p:nvPr/>
          </p:nvSpPr>
          <p:spPr>
            <a:xfrm>
              <a:off x="3901708" y="776353"/>
              <a:ext cx="1805294" cy="1474478"/>
            </a:xfrm>
            <a:prstGeom prst="cube">
              <a:avLst>
                <a:gd name="adj" fmla="val 44812"/>
              </a:avLst>
            </a:prstGeom>
            <a:solidFill>
              <a:schemeClr val="accent2">
                <a:lumMod val="50000"/>
              </a:schemeClr>
            </a:solidFill>
            <a:ln w="38100">
              <a:solidFill>
                <a:srgbClr val="451C0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5E19410-5A4E-DC56-A38C-70EFF8DE6DFD}"/>
                </a:ext>
              </a:extLst>
            </p:cNvPr>
            <p:cNvSpPr/>
            <p:nvPr/>
          </p:nvSpPr>
          <p:spPr>
            <a:xfrm rot="20980975">
              <a:off x="4390312" y="610042"/>
              <a:ext cx="828077" cy="974911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76200">
              <a:solidFill>
                <a:schemeClr val="accent6">
                  <a:lumMod val="50000"/>
                </a:schemeClr>
              </a:solidFill>
            </a:ln>
            <a:scene3d>
              <a:camera prst="isometricOffAxis2Top"/>
              <a:lightRig rig="threePt" dir="t"/>
            </a:scene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C039D79A-C00D-84B5-490B-0D0CF81FD620}"/>
              </a:ext>
            </a:extLst>
          </p:cNvPr>
          <p:cNvGrpSpPr/>
          <p:nvPr/>
        </p:nvGrpSpPr>
        <p:grpSpPr>
          <a:xfrm>
            <a:off x="591062" y="674854"/>
            <a:ext cx="3355687" cy="1089116"/>
            <a:chOff x="1204520" y="1929481"/>
            <a:chExt cx="4126724" cy="1339362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FA66967-7FD9-C69D-BD9D-36DE6682F949}"/>
                </a:ext>
              </a:extLst>
            </p:cNvPr>
            <p:cNvSpPr txBox="1"/>
            <p:nvPr/>
          </p:nvSpPr>
          <p:spPr>
            <a:xfrm>
              <a:off x="2675751" y="2133360"/>
              <a:ext cx="2655493" cy="1135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Inter-</a:t>
              </a:r>
              <a:r>
                <a:rPr lang="fr-FR" dirty="0" err="1"/>
                <a:t>Connected</a:t>
              </a:r>
              <a:r>
                <a:rPr lang="fr-FR" dirty="0"/>
                <a:t> </a:t>
              </a:r>
              <a:r>
                <a:rPr lang="fr-FR" dirty="0" err="1"/>
                <a:t>gardens</a:t>
              </a:r>
              <a:endParaRPr lang="fr-FR" dirty="0"/>
            </a:p>
            <a:p>
              <a:r>
                <a:rPr lang="fr-FR" dirty="0"/>
                <a:t>in the </a:t>
              </a:r>
              <a:r>
                <a:rPr lang="fr-FR" dirty="0" err="1"/>
                <a:t>cities</a:t>
              </a:r>
              <a:endParaRPr lang="fr-FR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D81B1EB-F3D1-FB09-484C-691919FDA516}"/>
                </a:ext>
              </a:extLst>
            </p:cNvPr>
            <p:cNvSpPr/>
            <p:nvPr/>
          </p:nvSpPr>
          <p:spPr>
            <a:xfrm>
              <a:off x="1204520" y="1929481"/>
              <a:ext cx="1331088" cy="1331088"/>
            </a:xfrm>
            <a:custGeom>
              <a:avLst/>
              <a:gdLst/>
              <a:ahLst/>
              <a:cxnLst/>
              <a:rect l="l" t="t" r="r" b="b"/>
              <a:pathLst>
                <a:path w="1331088" h="1331088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95276"/>
                    <a:pt x="1214692" y="1097821"/>
                    <a:pt x="1037656" y="1217424"/>
                  </a:cubicBezTo>
                  <a:lnTo>
                    <a:pt x="969846" y="1254230"/>
                  </a:lnTo>
                  <a:lnTo>
                    <a:pt x="969846" y="290791"/>
                  </a:lnTo>
                  <a:lnTo>
                    <a:pt x="754194" y="290791"/>
                  </a:lnTo>
                  <a:cubicBezTo>
                    <a:pt x="730803" y="321598"/>
                    <a:pt x="704132" y="349981"/>
                    <a:pt x="674180" y="375939"/>
                  </a:cubicBezTo>
                  <a:cubicBezTo>
                    <a:pt x="644228" y="401897"/>
                    <a:pt x="609427" y="424575"/>
                    <a:pt x="569777" y="443972"/>
                  </a:cubicBezTo>
                  <a:cubicBezTo>
                    <a:pt x="530127" y="463369"/>
                    <a:pt x="484058" y="478773"/>
                    <a:pt x="431572" y="490183"/>
                  </a:cubicBezTo>
                  <a:lnTo>
                    <a:pt x="431572" y="700701"/>
                  </a:lnTo>
                  <a:cubicBezTo>
                    <a:pt x="483488" y="693284"/>
                    <a:pt x="528415" y="682302"/>
                    <a:pt x="566354" y="667754"/>
                  </a:cubicBezTo>
                  <a:cubicBezTo>
                    <a:pt x="604293" y="653206"/>
                    <a:pt x="636669" y="636376"/>
                    <a:pt x="663483" y="617264"/>
                  </a:cubicBezTo>
                  <a:cubicBezTo>
                    <a:pt x="690297" y="598152"/>
                    <a:pt x="712832" y="578042"/>
                    <a:pt x="731088" y="556933"/>
                  </a:cubicBezTo>
                  <a:lnTo>
                    <a:pt x="731088" y="1324481"/>
                  </a:lnTo>
                  <a:lnTo>
                    <a:pt x="665544" y="1331088"/>
                  </a:lnTo>
                  <a:cubicBezTo>
                    <a:pt x="297974" y="1331088"/>
                    <a:pt x="0" y="1033114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86634349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CCADDF8-C60C-79BA-7BE5-5BCCE6AFA0DD}"/>
              </a:ext>
            </a:extLst>
          </p:cNvPr>
          <p:cNvSpPr/>
          <p:nvPr/>
        </p:nvSpPr>
        <p:spPr>
          <a:xfrm>
            <a:off x="8177288" y="4346352"/>
            <a:ext cx="5838607" cy="3109466"/>
          </a:xfrm>
          <a:custGeom>
            <a:avLst/>
            <a:gdLst>
              <a:gd name="connsiteX0" fmla="*/ 5386312 w 5838607"/>
              <a:gd name="connsiteY0" fmla="*/ 240888 h 3109466"/>
              <a:gd name="connsiteX1" fmla="*/ 4090912 w 5838607"/>
              <a:gd name="connsiteY1" fmla="*/ 134208 h 3109466"/>
              <a:gd name="connsiteX2" fmla="*/ 2871712 w 5838607"/>
              <a:gd name="connsiteY2" fmla="*/ 637128 h 3109466"/>
              <a:gd name="connsiteX3" fmla="*/ 1820152 w 5838607"/>
              <a:gd name="connsiteY3" fmla="*/ 530448 h 3109466"/>
              <a:gd name="connsiteX4" fmla="*/ 1271512 w 5838607"/>
              <a:gd name="connsiteY4" fmla="*/ 896208 h 3109466"/>
              <a:gd name="connsiteX5" fmla="*/ 1012432 w 5838607"/>
              <a:gd name="connsiteY5" fmla="*/ 2008728 h 3109466"/>
              <a:gd name="connsiteX6" fmla="*/ 6592 w 5838607"/>
              <a:gd name="connsiteY6" fmla="*/ 2831688 h 3109466"/>
              <a:gd name="connsiteX7" fmla="*/ 1561072 w 5838607"/>
              <a:gd name="connsiteY7" fmla="*/ 3106008 h 3109466"/>
              <a:gd name="connsiteX8" fmla="*/ 5538712 w 5838607"/>
              <a:gd name="connsiteY8" fmla="*/ 2679288 h 3109466"/>
              <a:gd name="connsiteX9" fmla="*/ 5386312 w 5838607"/>
              <a:gd name="connsiteY9" fmla="*/ 240888 h 3109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38607" h="3109466">
                <a:moveTo>
                  <a:pt x="5386312" y="240888"/>
                </a:moveTo>
                <a:cubicBezTo>
                  <a:pt x="5145012" y="-183292"/>
                  <a:pt x="4510012" y="68168"/>
                  <a:pt x="4090912" y="134208"/>
                </a:cubicBezTo>
                <a:cubicBezTo>
                  <a:pt x="3671812" y="200248"/>
                  <a:pt x="3250172" y="571088"/>
                  <a:pt x="2871712" y="637128"/>
                </a:cubicBezTo>
                <a:cubicBezTo>
                  <a:pt x="2493252" y="703168"/>
                  <a:pt x="2086852" y="487268"/>
                  <a:pt x="1820152" y="530448"/>
                </a:cubicBezTo>
                <a:cubicBezTo>
                  <a:pt x="1553452" y="573628"/>
                  <a:pt x="1406132" y="649828"/>
                  <a:pt x="1271512" y="896208"/>
                </a:cubicBezTo>
                <a:cubicBezTo>
                  <a:pt x="1136892" y="1142588"/>
                  <a:pt x="1223252" y="1686148"/>
                  <a:pt x="1012432" y="2008728"/>
                </a:cubicBezTo>
                <a:cubicBezTo>
                  <a:pt x="801612" y="2331308"/>
                  <a:pt x="-84848" y="2648808"/>
                  <a:pt x="6592" y="2831688"/>
                </a:cubicBezTo>
                <a:cubicBezTo>
                  <a:pt x="98032" y="3014568"/>
                  <a:pt x="639052" y="3131408"/>
                  <a:pt x="1561072" y="3106008"/>
                </a:cubicBezTo>
                <a:cubicBezTo>
                  <a:pt x="2483092" y="3080608"/>
                  <a:pt x="4896092" y="3159348"/>
                  <a:pt x="5538712" y="2679288"/>
                </a:cubicBezTo>
                <a:cubicBezTo>
                  <a:pt x="6181332" y="2199228"/>
                  <a:pt x="5627612" y="665068"/>
                  <a:pt x="5386312" y="24088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EE64E9-C370-A407-44EF-D40BB3747BD9}"/>
              </a:ext>
            </a:extLst>
          </p:cNvPr>
          <p:cNvSpPr txBox="1"/>
          <p:nvPr/>
        </p:nvSpPr>
        <p:spPr>
          <a:xfrm>
            <a:off x="3971043" y="449211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061AB7F-4348-1C2A-7AB3-1C4BCE33C7EB}"/>
              </a:ext>
            </a:extLst>
          </p:cNvPr>
          <p:cNvSpPr txBox="1"/>
          <p:nvPr/>
        </p:nvSpPr>
        <p:spPr>
          <a:xfrm>
            <a:off x="4294893" y="-1752969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61F3286-9661-0AA1-A30C-FFD4CF945B5B}"/>
              </a:ext>
            </a:extLst>
          </p:cNvPr>
          <p:cNvSpPr txBox="1"/>
          <p:nvPr/>
        </p:nvSpPr>
        <p:spPr>
          <a:xfrm>
            <a:off x="4619808" y="-11996133"/>
            <a:ext cx="609600" cy="1560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12345678901234567890</a:t>
            </a:r>
          </a:p>
        </p:txBody>
      </p:sp>
      <p:sp>
        <p:nvSpPr>
          <p:cNvPr id="17" name="TextBox 16" hidden="1">
            <a:extLst>
              <a:ext uri="{FF2B5EF4-FFF2-40B4-BE49-F238E27FC236}">
                <a16:creationId xmlns:a16="http://schemas.microsoft.com/office/drawing/2014/main" id="{C384808E-A1B1-A0DD-8EF1-9104FD1B7023}"/>
              </a:ext>
            </a:extLst>
          </p:cNvPr>
          <p:cNvSpPr txBox="1"/>
          <p:nvPr/>
        </p:nvSpPr>
        <p:spPr>
          <a:xfrm>
            <a:off x="4284980" y="2644170"/>
            <a:ext cx="26322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chemeClr val="accent6">
                    <a:lumMod val="75000"/>
                  </a:schemeClr>
                </a:solidFill>
              </a:rPr>
              <a:t>00 000</a:t>
            </a:r>
          </a:p>
        </p:txBody>
      </p:sp>
      <p:sp>
        <p:nvSpPr>
          <p:cNvPr id="5" name="A metz">
            <a:extLst>
              <a:ext uri="{FF2B5EF4-FFF2-40B4-BE49-F238E27FC236}">
                <a16:creationId xmlns:a16="http://schemas.microsoft.com/office/drawing/2014/main" id="{9E4330FD-FAB4-083B-A079-88B33FA35BEF}"/>
              </a:ext>
            </a:extLst>
          </p:cNvPr>
          <p:cNvSpPr txBox="1"/>
          <p:nvPr/>
        </p:nvSpPr>
        <p:spPr>
          <a:xfrm>
            <a:off x="1682299" y="2649477"/>
            <a:ext cx="64401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4800" b="1" dirty="0"/>
              <a:t>In Metz, </a:t>
            </a:r>
            <a:endParaRPr lang="fr-FR" sz="4800" dirty="0"/>
          </a:p>
        </p:txBody>
      </p:sp>
      <p:sp>
        <p:nvSpPr>
          <p:cNvPr id="7" name="m²">
            <a:extLst>
              <a:ext uri="{FF2B5EF4-FFF2-40B4-BE49-F238E27FC236}">
                <a16:creationId xmlns:a16="http://schemas.microsoft.com/office/drawing/2014/main" id="{621D70F1-BAF6-18C0-81A5-F72AF515A596}"/>
              </a:ext>
            </a:extLst>
          </p:cNvPr>
          <p:cNvSpPr txBox="1"/>
          <p:nvPr/>
        </p:nvSpPr>
        <p:spPr>
          <a:xfrm>
            <a:off x="5070863" y="2638719"/>
            <a:ext cx="583860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4800" b="1" dirty="0"/>
              <a:t>m² </a:t>
            </a:r>
            <a:r>
              <a:rPr lang="fr-FR" sz="4800" b="1" dirty="0" err="1"/>
              <a:t>would</a:t>
            </a:r>
            <a:r>
              <a:rPr lang="fr-FR" sz="4800" b="1" dirty="0"/>
              <a:t> </a:t>
            </a:r>
            <a:r>
              <a:rPr lang="fr-FR" sz="4800" b="1" dirty="0" err="1"/>
              <a:t>constitute</a:t>
            </a:r>
            <a:endParaRPr lang="fr-FR" sz="4800" dirty="0"/>
          </a:p>
        </p:txBody>
      </p:sp>
      <p:sp>
        <p:nvSpPr>
          <p:cNvPr id="8" name="hide bas">
            <a:extLst>
              <a:ext uri="{FF2B5EF4-FFF2-40B4-BE49-F238E27FC236}">
                <a16:creationId xmlns:a16="http://schemas.microsoft.com/office/drawing/2014/main" id="{2DEEBA56-3AF8-EBD0-08E8-010CC4854DCD}"/>
              </a:ext>
            </a:extLst>
          </p:cNvPr>
          <p:cNvSpPr/>
          <p:nvPr/>
        </p:nvSpPr>
        <p:spPr>
          <a:xfrm>
            <a:off x="2961409" y="3374290"/>
            <a:ext cx="4426527" cy="38162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hide bas">
            <a:extLst>
              <a:ext uri="{FF2B5EF4-FFF2-40B4-BE49-F238E27FC236}">
                <a16:creationId xmlns:a16="http://schemas.microsoft.com/office/drawing/2014/main" id="{3B522A76-35BF-F32B-748D-1930D1FE9882}"/>
              </a:ext>
            </a:extLst>
          </p:cNvPr>
          <p:cNvSpPr/>
          <p:nvPr/>
        </p:nvSpPr>
        <p:spPr>
          <a:xfrm>
            <a:off x="2956695" y="-1189850"/>
            <a:ext cx="4426527" cy="38162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5EFDAFB-2829-7B7D-C12C-CB6810BF7F47}"/>
              </a:ext>
            </a:extLst>
          </p:cNvPr>
          <p:cNvSpPr txBox="1"/>
          <p:nvPr/>
        </p:nvSpPr>
        <p:spPr>
          <a:xfrm>
            <a:off x="1578979" y="3374290"/>
            <a:ext cx="68512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800" b="1" dirty="0"/>
              <a:t>the first </a:t>
            </a:r>
            <a:r>
              <a:rPr lang="en-GB" sz="4800" b="1" dirty="0">
                <a:solidFill>
                  <a:srgbClr val="116A1B"/>
                </a:solidFill>
              </a:rPr>
              <a:t>three pilot sit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28D6D4-385E-1AB9-8DF3-85B053D56E94}"/>
              </a:ext>
            </a:extLst>
          </p:cNvPr>
          <p:cNvSpPr txBox="1"/>
          <p:nvPr/>
        </p:nvSpPr>
        <p:spPr>
          <a:xfrm>
            <a:off x="1961439" y="6387226"/>
            <a:ext cx="82691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Sources: </a:t>
            </a:r>
            <a:r>
              <a:rPr lang="en-US" sz="1200" dirty="0" err="1"/>
              <a:t>TerraCity</a:t>
            </a:r>
            <a:r>
              <a:rPr lang="en-US" sz="1200" dirty="0"/>
              <a:t>, 5/17/2025, studies based on soil, socio-economic and political issues in the Metz </a:t>
            </a:r>
            <a:r>
              <a:rPr lang="en-US" sz="1200" dirty="0" err="1"/>
              <a:t>Eurometropolis</a:t>
            </a:r>
            <a:r>
              <a:rPr lang="en-US" sz="1200" dirty="0"/>
              <a:t> area.</a:t>
            </a:r>
            <a:endParaRPr lang="fr-FR" sz="1200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6D1F3D6-9906-8D5C-6A0F-09E4F0E19E5F}"/>
              </a:ext>
            </a:extLst>
          </p:cNvPr>
          <p:cNvGrpSpPr/>
          <p:nvPr/>
        </p:nvGrpSpPr>
        <p:grpSpPr>
          <a:xfrm>
            <a:off x="10450702" y="4022782"/>
            <a:ext cx="1532894" cy="1512806"/>
            <a:chOff x="9790816" y="2831970"/>
            <a:chExt cx="2714189" cy="2678620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8138EF1-1E7C-18C9-6273-2524E57B8790}"/>
                </a:ext>
              </a:extLst>
            </p:cNvPr>
            <p:cNvSpPr/>
            <p:nvPr/>
          </p:nvSpPr>
          <p:spPr>
            <a:xfrm>
              <a:off x="9790816" y="2831970"/>
              <a:ext cx="2714189" cy="1457354"/>
            </a:xfrm>
            <a:custGeom>
              <a:avLst/>
              <a:gdLst>
                <a:gd name="connsiteX0" fmla="*/ 1345230 w 2714189"/>
                <a:gd name="connsiteY0" fmla="*/ 0 h 1457354"/>
                <a:gd name="connsiteX1" fmla="*/ 1357095 w 2714189"/>
                <a:gd name="connsiteY1" fmla="*/ 909 h 1457354"/>
                <a:gd name="connsiteX2" fmla="*/ 1368959 w 2714189"/>
                <a:gd name="connsiteY2" fmla="*/ 0 h 1457354"/>
                <a:gd name="connsiteX3" fmla="*/ 1400570 w 2714189"/>
                <a:gd name="connsiteY3" fmla="*/ 4241 h 1457354"/>
                <a:gd name="connsiteX4" fmla="*/ 1403957 w 2714189"/>
                <a:gd name="connsiteY4" fmla="*/ 4500 h 1457354"/>
                <a:gd name="connsiteX5" fmla="*/ 1405870 w 2714189"/>
                <a:gd name="connsiteY5" fmla="*/ 4952 h 1457354"/>
                <a:gd name="connsiteX6" fmla="*/ 1469151 w 2714189"/>
                <a:gd name="connsiteY6" fmla="*/ 13441 h 1457354"/>
                <a:gd name="connsiteX7" fmla="*/ 1654435 w 2714189"/>
                <a:gd name="connsiteY7" fmla="*/ 176862 h 1457354"/>
                <a:gd name="connsiteX8" fmla="*/ 1655021 w 2714189"/>
                <a:gd name="connsiteY8" fmla="*/ 181288 h 1457354"/>
                <a:gd name="connsiteX9" fmla="*/ 1660058 w 2714189"/>
                <a:gd name="connsiteY9" fmla="*/ 178832 h 1457354"/>
                <a:gd name="connsiteX10" fmla="*/ 1870956 w 2714189"/>
                <a:gd name="connsiteY10" fmla="*/ 181289 h 1457354"/>
                <a:gd name="connsiteX11" fmla="*/ 2060986 w 2714189"/>
                <a:gd name="connsiteY11" fmla="*/ 459247 h 1457354"/>
                <a:gd name="connsiteX12" fmla="*/ 2052465 w 2714189"/>
                <a:gd name="connsiteY12" fmla="*/ 494004 h 1457354"/>
                <a:gd name="connsiteX13" fmla="*/ 2058094 w 2714189"/>
                <a:gd name="connsiteY13" fmla="*/ 491353 h 1457354"/>
                <a:gd name="connsiteX14" fmla="*/ 2300231 w 2714189"/>
                <a:gd name="connsiteY14" fmla="*/ 524185 h 1457354"/>
                <a:gd name="connsiteX15" fmla="*/ 2416086 w 2714189"/>
                <a:gd name="connsiteY15" fmla="*/ 853739 h 1457354"/>
                <a:gd name="connsiteX16" fmla="*/ 2401265 w 2714189"/>
                <a:gd name="connsiteY16" fmla="*/ 872514 h 1457354"/>
                <a:gd name="connsiteX17" fmla="*/ 2401442 w 2714189"/>
                <a:gd name="connsiteY17" fmla="*/ 872488 h 1457354"/>
                <a:gd name="connsiteX18" fmla="*/ 2713888 w 2714189"/>
                <a:gd name="connsiteY18" fmla="*/ 1151131 h 1457354"/>
                <a:gd name="connsiteX19" fmla="*/ 2428074 w 2714189"/>
                <a:gd name="connsiteY19" fmla="*/ 1457031 h 1457354"/>
                <a:gd name="connsiteX20" fmla="*/ 2258555 w 2714189"/>
                <a:gd name="connsiteY20" fmla="*/ 1414735 h 1457354"/>
                <a:gd name="connsiteX21" fmla="*/ 2226162 w 2714189"/>
                <a:gd name="connsiteY21" fmla="*/ 1390970 h 1457354"/>
                <a:gd name="connsiteX22" fmla="*/ 2179671 w 2714189"/>
                <a:gd name="connsiteY22" fmla="*/ 1421201 h 1457354"/>
                <a:gd name="connsiteX23" fmla="*/ 2064395 w 2714189"/>
                <a:gd name="connsiteY23" fmla="*/ 1451941 h 1457354"/>
                <a:gd name="connsiteX24" fmla="*/ 1809851 w 2714189"/>
                <a:gd name="connsiteY24" fmla="*/ 1320543 h 1457354"/>
                <a:gd name="connsiteX25" fmla="*/ 1807226 w 2714189"/>
                <a:gd name="connsiteY25" fmla="*/ 1315857 h 1457354"/>
                <a:gd name="connsiteX26" fmla="*/ 1769070 w 2714189"/>
                <a:gd name="connsiteY26" fmla="*/ 1321378 h 1457354"/>
                <a:gd name="connsiteX27" fmla="*/ 1515157 w 2714189"/>
                <a:gd name="connsiteY27" fmla="*/ 1203819 h 1457354"/>
                <a:gd name="connsiteX28" fmla="*/ 1495357 w 2714189"/>
                <a:gd name="connsiteY28" fmla="*/ 1171712 h 1457354"/>
                <a:gd name="connsiteX29" fmla="*/ 1442290 w 2714189"/>
                <a:gd name="connsiteY29" fmla="*/ 1190485 h 1457354"/>
                <a:gd name="connsiteX30" fmla="*/ 1382275 w 2714189"/>
                <a:gd name="connsiteY30" fmla="*/ 1199169 h 1457354"/>
                <a:gd name="connsiteX31" fmla="*/ 1357095 w 2714189"/>
                <a:gd name="connsiteY31" fmla="*/ 1197842 h 1457354"/>
                <a:gd name="connsiteX32" fmla="*/ 1331914 w 2714189"/>
                <a:gd name="connsiteY32" fmla="*/ 1199169 h 1457354"/>
                <a:gd name="connsiteX33" fmla="*/ 1271899 w 2714189"/>
                <a:gd name="connsiteY33" fmla="*/ 1190485 h 1457354"/>
                <a:gd name="connsiteX34" fmla="*/ 1218832 w 2714189"/>
                <a:gd name="connsiteY34" fmla="*/ 1171712 h 1457354"/>
                <a:gd name="connsiteX35" fmla="*/ 1199032 w 2714189"/>
                <a:gd name="connsiteY35" fmla="*/ 1203819 h 1457354"/>
                <a:gd name="connsiteX36" fmla="*/ 945118 w 2714189"/>
                <a:gd name="connsiteY36" fmla="*/ 1321378 h 1457354"/>
                <a:gd name="connsiteX37" fmla="*/ 906963 w 2714189"/>
                <a:gd name="connsiteY37" fmla="*/ 1315857 h 1457354"/>
                <a:gd name="connsiteX38" fmla="*/ 904338 w 2714189"/>
                <a:gd name="connsiteY38" fmla="*/ 1320543 h 1457354"/>
                <a:gd name="connsiteX39" fmla="*/ 649794 w 2714189"/>
                <a:gd name="connsiteY39" fmla="*/ 1451941 h 1457354"/>
                <a:gd name="connsiteX40" fmla="*/ 534518 w 2714189"/>
                <a:gd name="connsiteY40" fmla="*/ 1421201 h 1457354"/>
                <a:gd name="connsiteX41" fmla="*/ 488027 w 2714189"/>
                <a:gd name="connsiteY41" fmla="*/ 1390970 h 1457354"/>
                <a:gd name="connsiteX42" fmla="*/ 455634 w 2714189"/>
                <a:gd name="connsiteY42" fmla="*/ 1414735 h 1457354"/>
                <a:gd name="connsiteX43" fmla="*/ 286114 w 2714189"/>
                <a:gd name="connsiteY43" fmla="*/ 1457031 h 1457354"/>
                <a:gd name="connsiteX44" fmla="*/ 301 w 2714189"/>
                <a:gd name="connsiteY44" fmla="*/ 1151131 h 1457354"/>
                <a:gd name="connsiteX45" fmla="*/ 312747 w 2714189"/>
                <a:gd name="connsiteY45" fmla="*/ 872488 h 1457354"/>
                <a:gd name="connsiteX46" fmla="*/ 312924 w 2714189"/>
                <a:gd name="connsiteY46" fmla="*/ 872514 h 1457354"/>
                <a:gd name="connsiteX47" fmla="*/ 298104 w 2714189"/>
                <a:gd name="connsiteY47" fmla="*/ 853739 h 1457354"/>
                <a:gd name="connsiteX48" fmla="*/ 413958 w 2714189"/>
                <a:gd name="connsiteY48" fmla="*/ 524185 h 1457354"/>
                <a:gd name="connsiteX49" fmla="*/ 656094 w 2714189"/>
                <a:gd name="connsiteY49" fmla="*/ 491353 h 1457354"/>
                <a:gd name="connsiteX50" fmla="*/ 661724 w 2714189"/>
                <a:gd name="connsiteY50" fmla="*/ 494004 h 1457354"/>
                <a:gd name="connsiteX51" fmla="*/ 653203 w 2714189"/>
                <a:gd name="connsiteY51" fmla="*/ 459247 h 1457354"/>
                <a:gd name="connsiteX52" fmla="*/ 843233 w 2714189"/>
                <a:gd name="connsiteY52" fmla="*/ 181289 h 1457354"/>
                <a:gd name="connsiteX53" fmla="*/ 1054131 w 2714189"/>
                <a:gd name="connsiteY53" fmla="*/ 178832 h 1457354"/>
                <a:gd name="connsiteX54" fmla="*/ 1059168 w 2714189"/>
                <a:gd name="connsiteY54" fmla="*/ 181288 h 1457354"/>
                <a:gd name="connsiteX55" fmla="*/ 1059754 w 2714189"/>
                <a:gd name="connsiteY55" fmla="*/ 176862 h 1457354"/>
                <a:gd name="connsiteX56" fmla="*/ 1245038 w 2714189"/>
                <a:gd name="connsiteY56" fmla="*/ 13441 h 1457354"/>
                <a:gd name="connsiteX57" fmla="*/ 1308319 w 2714189"/>
                <a:gd name="connsiteY57" fmla="*/ 4952 h 1457354"/>
                <a:gd name="connsiteX58" fmla="*/ 1310232 w 2714189"/>
                <a:gd name="connsiteY58" fmla="*/ 4500 h 1457354"/>
                <a:gd name="connsiteX59" fmla="*/ 1313619 w 2714189"/>
                <a:gd name="connsiteY59" fmla="*/ 4241 h 145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714189" h="1457354">
                  <a:moveTo>
                    <a:pt x="1345230" y="0"/>
                  </a:moveTo>
                  <a:lnTo>
                    <a:pt x="1357095" y="909"/>
                  </a:lnTo>
                  <a:lnTo>
                    <a:pt x="1368959" y="0"/>
                  </a:lnTo>
                  <a:lnTo>
                    <a:pt x="1400570" y="4241"/>
                  </a:lnTo>
                  <a:lnTo>
                    <a:pt x="1403957" y="4500"/>
                  </a:lnTo>
                  <a:lnTo>
                    <a:pt x="1405870" y="4952"/>
                  </a:lnTo>
                  <a:lnTo>
                    <a:pt x="1469151" y="13441"/>
                  </a:lnTo>
                  <a:cubicBezTo>
                    <a:pt x="1562875" y="39527"/>
                    <a:pt x="1634056" y="101161"/>
                    <a:pt x="1654435" y="176862"/>
                  </a:cubicBezTo>
                  <a:lnTo>
                    <a:pt x="1655021" y="181288"/>
                  </a:lnTo>
                  <a:lnTo>
                    <a:pt x="1660058" y="178832"/>
                  </a:lnTo>
                  <a:cubicBezTo>
                    <a:pt x="1723025" y="155293"/>
                    <a:pt x="1798299" y="154252"/>
                    <a:pt x="1870956" y="181289"/>
                  </a:cubicBezTo>
                  <a:cubicBezTo>
                    <a:pt x="1998106" y="228604"/>
                    <a:pt x="2075110" y="346229"/>
                    <a:pt x="2060986" y="459247"/>
                  </a:cubicBezTo>
                  <a:lnTo>
                    <a:pt x="2052465" y="494004"/>
                  </a:lnTo>
                  <a:lnTo>
                    <a:pt x="2058094" y="491353"/>
                  </a:lnTo>
                  <a:cubicBezTo>
                    <a:pt x="2130173" y="466201"/>
                    <a:pt x="2220543" y="475774"/>
                    <a:pt x="2300231" y="524185"/>
                  </a:cubicBezTo>
                  <a:cubicBezTo>
                    <a:pt x="2427731" y="601641"/>
                    <a:pt x="2479600" y="749188"/>
                    <a:pt x="2416086" y="853739"/>
                  </a:cubicBezTo>
                  <a:lnTo>
                    <a:pt x="2401265" y="872514"/>
                  </a:lnTo>
                  <a:lnTo>
                    <a:pt x="2401442" y="872488"/>
                  </a:lnTo>
                  <a:cubicBezTo>
                    <a:pt x="2566647" y="864961"/>
                    <a:pt x="2706533" y="989714"/>
                    <a:pt x="2713888" y="1151131"/>
                  </a:cubicBezTo>
                  <a:cubicBezTo>
                    <a:pt x="2721242" y="1312548"/>
                    <a:pt x="2593279" y="1449504"/>
                    <a:pt x="2428074" y="1457031"/>
                  </a:cubicBezTo>
                  <a:cubicBezTo>
                    <a:pt x="2366123" y="1459853"/>
                    <a:pt x="2307732" y="1444074"/>
                    <a:pt x="2258555" y="1414735"/>
                  </a:cubicBezTo>
                  <a:lnTo>
                    <a:pt x="2226162" y="1390970"/>
                  </a:lnTo>
                  <a:lnTo>
                    <a:pt x="2179671" y="1421201"/>
                  </a:lnTo>
                  <a:cubicBezTo>
                    <a:pt x="2144630" y="1439210"/>
                    <a:pt x="2105696" y="1450059"/>
                    <a:pt x="2064395" y="1451941"/>
                  </a:cubicBezTo>
                  <a:cubicBezTo>
                    <a:pt x="1961143" y="1456645"/>
                    <a:pt x="1867529" y="1404188"/>
                    <a:pt x="1809851" y="1320543"/>
                  </a:cubicBezTo>
                  <a:lnTo>
                    <a:pt x="1807226" y="1315857"/>
                  </a:lnTo>
                  <a:lnTo>
                    <a:pt x="1769070" y="1321378"/>
                  </a:lnTo>
                  <a:cubicBezTo>
                    <a:pt x="1665818" y="1326083"/>
                    <a:pt x="1572455" y="1279115"/>
                    <a:pt x="1515157" y="1203819"/>
                  </a:cubicBezTo>
                  <a:lnTo>
                    <a:pt x="1495357" y="1171712"/>
                  </a:lnTo>
                  <a:lnTo>
                    <a:pt x="1442290" y="1190485"/>
                  </a:lnTo>
                  <a:cubicBezTo>
                    <a:pt x="1422994" y="1195265"/>
                    <a:pt x="1402926" y="1198228"/>
                    <a:pt x="1382275" y="1199169"/>
                  </a:cubicBezTo>
                  <a:lnTo>
                    <a:pt x="1357095" y="1197842"/>
                  </a:lnTo>
                  <a:lnTo>
                    <a:pt x="1331914" y="1199169"/>
                  </a:lnTo>
                  <a:cubicBezTo>
                    <a:pt x="1311263" y="1198228"/>
                    <a:pt x="1291195" y="1195265"/>
                    <a:pt x="1271899" y="1190485"/>
                  </a:cubicBezTo>
                  <a:lnTo>
                    <a:pt x="1218832" y="1171712"/>
                  </a:lnTo>
                  <a:lnTo>
                    <a:pt x="1199032" y="1203819"/>
                  </a:lnTo>
                  <a:cubicBezTo>
                    <a:pt x="1141734" y="1279115"/>
                    <a:pt x="1048371" y="1326083"/>
                    <a:pt x="945118" y="1321378"/>
                  </a:cubicBezTo>
                  <a:lnTo>
                    <a:pt x="906963" y="1315857"/>
                  </a:lnTo>
                  <a:lnTo>
                    <a:pt x="904338" y="1320543"/>
                  </a:lnTo>
                  <a:cubicBezTo>
                    <a:pt x="846660" y="1404188"/>
                    <a:pt x="753046" y="1456645"/>
                    <a:pt x="649794" y="1451941"/>
                  </a:cubicBezTo>
                  <a:cubicBezTo>
                    <a:pt x="608493" y="1450059"/>
                    <a:pt x="569559" y="1439210"/>
                    <a:pt x="534518" y="1421201"/>
                  </a:cubicBezTo>
                  <a:lnTo>
                    <a:pt x="488027" y="1390970"/>
                  </a:lnTo>
                  <a:lnTo>
                    <a:pt x="455634" y="1414735"/>
                  </a:lnTo>
                  <a:cubicBezTo>
                    <a:pt x="406457" y="1444074"/>
                    <a:pt x="348066" y="1459853"/>
                    <a:pt x="286114" y="1457031"/>
                  </a:cubicBezTo>
                  <a:cubicBezTo>
                    <a:pt x="120910" y="1449504"/>
                    <a:pt x="-7053" y="1312548"/>
                    <a:pt x="301" y="1151131"/>
                  </a:cubicBezTo>
                  <a:cubicBezTo>
                    <a:pt x="7656" y="989714"/>
                    <a:pt x="147542" y="864961"/>
                    <a:pt x="312747" y="872488"/>
                  </a:cubicBezTo>
                  <a:lnTo>
                    <a:pt x="312924" y="872514"/>
                  </a:lnTo>
                  <a:lnTo>
                    <a:pt x="298104" y="853739"/>
                  </a:lnTo>
                  <a:cubicBezTo>
                    <a:pt x="234588" y="749188"/>
                    <a:pt x="286458" y="601641"/>
                    <a:pt x="413958" y="524185"/>
                  </a:cubicBezTo>
                  <a:cubicBezTo>
                    <a:pt x="493646" y="475774"/>
                    <a:pt x="584016" y="466201"/>
                    <a:pt x="656094" y="491353"/>
                  </a:cubicBezTo>
                  <a:lnTo>
                    <a:pt x="661724" y="494004"/>
                  </a:lnTo>
                  <a:lnTo>
                    <a:pt x="653203" y="459247"/>
                  </a:lnTo>
                  <a:cubicBezTo>
                    <a:pt x="639079" y="346229"/>
                    <a:pt x="716083" y="228604"/>
                    <a:pt x="843233" y="181289"/>
                  </a:cubicBezTo>
                  <a:cubicBezTo>
                    <a:pt x="915890" y="154252"/>
                    <a:pt x="991164" y="155293"/>
                    <a:pt x="1054131" y="178832"/>
                  </a:cubicBezTo>
                  <a:lnTo>
                    <a:pt x="1059168" y="181288"/>
                  </a:lnTo>
                  <a:lnTo>
                    <a:pt x="1059754" y="176862"/>
                  </a:lnTo>
                  <a:cubicBezTo>
                    <a:pt x="1080133" y="101161"/>
                    <a:pt x="1151314" y="39527"/>
                    <a:pt x="1245038" y="13441"/>
                  </a:cubicBezTo>
                  <a:lnTo>
                    <a:pt x="1308319" y="4952"/>
                  </a:lnTo>
                  <a:lnTo>
                    <a:pt x="1310232" y="4500"/>
                  </a:lnTo>
                  <a:lnTo>
                    <a:pt x="1313619" y="424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70C1895-4FAC-0F16-EFEA-A223D12DB706}"/>
                </a:ext>
              </a:extLst>
            </p:cNvPr>
            <p:cNvSpPr/>
            <p:nvPr/>
          </p:nvSpPr>
          <p:spPr>
            <a:xfrm>
              <a:off x="10733693" y="4094414"/>
              <a:ext cx="841110" cy="1416176"/>
            </a:xfrm>
            <a:custGeom>
              <a:avLst/>
              <a:gdLst>
                <a:gd name="connsiteX0" fmla="*/ 335852 w 841110"/>
                <a:gd name="connsiteY0" fmla="*/ 0 h 1416176"/>
                <a:gd name="connsiteX1" fmla="*/ 420555 w 841110"/>
                <a:gd name="connsiteY1" fmla="*/ 19126 h 1416176"/>
                <a:gd name="connsiteX2" fmla="*/ 505258 w 841110"/>
                <a:gd name="connsiteY2" fmla="*/ 0 h 1416176"/>
                <a:gd name="connsiteX3" fmla="*/ 541642 w 841110"/>
                <a:gd name="connsiteY3" fmla="*/ 39183 h 1416176"/>
                <a:gd name="connsiteX4" fmla="*/ 547240 w 841110"/>
                <a:gd name="connsiteY4" fmla="*/ 251889 h 1416176"/>
                <a:gd name="connsiteX5" fmla="*/ 656391 w 841110"/>
                <a:gd name="connsiteY5" fmla="*/ 302267 h 1416176"/>
                <a:gd name="connsiteX6" fmla="*/ 790732 w 841110"/>
                <a:gd name="connsiteY6" fmla="*/ 128744 h 1416176"/>
                <a:gd name="connsiteX7" fmla="*/ 841110 w 841110"/>
                <a:gd name="connsiteY7" fmla="*/ 173524 h 1416176"/>
                <a:gd name="connsiteX8" fmla="*/ 550038 w 841110"/>
                <a:gd name="connsiteY8" fmla="*/ 733277 h 1416176"/>
                <a:gd name="connsiteX9" fmla="*/ 541642 w 841110"/>
                <a:gd name="connsiteY9" fmla="*/ 1018751 h 1416176"/>
                <a:gd name="connsiteX10" fmla="*/ 547240 w 841110"/>
                <a:gd name="connsiteY10" fmla="*/ 1343408 h 1416176"/>
                <a:gd name="connsiteX11" fmla="*/ 572428 w 841110"/>
                <a:gd name="connsiteY11" fmla="*/ 1410579 h 1416176"/>
                <a:gd name="connsiteX12" fmla="*/ 431006 w 841110"/>
                <a:gd name="connsiteY12" fmla="*/ 1415455 h 1416176"/>
                <a:gd name="connsiteX13" fmla="*/ 431010 w 841110"/>
                <a:gd name="connsiteY13" fmla="*/ 1416176 h 1416176"/>
                <a:gd name="connsiteX14" fmla="*/ 420555 w 841110"/>
                <a:gd name="connsiteY14" fmla="*/ 1415816 h 1416176"/>
                <a:gd name="connsiteX15" fmla="*/ 410100 w 841110"/>
                <a:gd name="connsiteY15" fmla="*/ 1416176 h 1416176"/>
                <a:gd name="connsiteX16" fmla="*/ 410104 w 841110"/>
                <a:gd name="connsiteY16" fmla="*/ 1415455 h 1416176"/>
                <a:gd name="connsiteX17" fmla="*/ 268682 w 841110"/>
                <a:gd name="connsiteY17" fmla="*/ 1410579 h 1416176"/>
                <a:gd name="connsiteX18" fmla="*/ 293870 w 841110"/>
                <a:gd name="connsiteY18" fmla="*/ 1343408 h 1416176"/>
                <a:gd name="connsiteX19" fmla="*/ 299468 w 841110"/>
                <a:gd name="connsiteY19" fmla="*/ 1018751 h 1416176"/>
                <a:gd name="connsiteX20" fmla="*/ 291072 w 841110"/>
                <a:gd name="connsiteY20" fmla="*/ 733277 h 1416176"/>
                <a:gd name="connsiteX21" fmla="*/ 0 w 841110"/>
                <a:gd name="connsiteY21" fmla="*/ 173524 h 1416176"/>
                <a:gd name="connsiteX22" fmla="*/ 50378 w 841110"/>
                <a:gd name="connsiteY22" fmla="*/ 128744 h 1416176"/>
                <a:gd name="connsiteX23" fmla="*/ 184719 w 841110"/>
                <a:gd name="connsiteY23" fmla="*/ 302267 h 1416176"/>
                <a:gd name="connsiteX24" fmla="*/ 293870 w 841110"/>
                <a:gd name="connsiteY24" fmla="*/ 251889 h 1416176"/>
                <a:gd name="connsiteX25" fmla="*/ 299468 w 841110"/>
                <a:gd name="connsiteY25" fmla="*/ 39183 h 1416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41110" h="1416176">
                  <a:moveTo>
                    <a:pt x="335852" y="0"/>
                  </a:moveTo>
                  <a:lnTo>
                    <a:pt x="420555" y="19126"/>
                  </a:lnTo>
                  <a:lnTo>
                    <a:pt x="505258" y="0"/>
                  </a:lnTo>
                  <a:lnTo>
                    <a:pt x="541642" y="39183"/>
                  </a:lnTo>
                  <a:cubicBezTo>
                    <a:pt x="542575" y="109152"/>
                    <a:pt x="546307" y="181920"/>
                    <a:pt x="547240" y="251889"/>
                  </a:cubicBezTo>
                  <a:cubicBezTo>
                    <a:pt x="600416" y="327456"/>
                    <a:pt x="620007" y="285474"/>
                    <a:pt x="656391" y="302267"/>
                  </a:cubicBezTo>
                  <a:lnTo>
                    <a:pt x="790732" y="128744"/>
                  </a:lnTo>
                  <a:lnTo>
                    <a:pt x="841110" y="173524"/>
                  </a:lnTo>
                  <a:cubicBezTo>
                    <a:pt x="744086" y="360108"/>
                    <a:pt x="624672" y="535497"/>
                    <a:pt x="550038" y="733277"/>
                  </a:cubicBezTo>
                  <a:cubicBezTo>
                    <a:pt x="530447" y="848027"/>
                    <a:pt x="544441" y="923593"/>
                    <a:pt x="541642" y="1018751"/>
                  </a:cubicBezTo>
                  <a:lnTo>
                    <a:pt x="547240" y="1343408"/>
                  </a:lnTo>
                  <a:lnTo>
                    <a:pt x="572428" y="1410579"/>
                  </a:lnTo>
                  <a:lnTo>
                    <a:pt x="431006" y="1415455"/>
                  </a:lnTo>
                  <a:lnTo>
                    <a:pt x="431010" y="1416176"/>
                  </a:lnTo>
                  <a:lnTo>
                    <a:pt x="420555" y="1415816"/>
                  </a:lnTo>
                  <a:lnTo>
                    <a:pt x="410100" y="1416176"/>
                  </a:lnTo>
                  <a:lnTo>
                    <a:pt x="410104" y="1415455"/>
                  </a:lnTo>
                  <a:lnTo>
                    <a:pt x="268682" y="1410579"/>
                  </a:lnTo>
                  <a:lnTo>
                    <a:pt x="293870" y="1343408"/>
                  </a:lnTo>
                  <a:lnTo>
                    <a:pt x="299468" y="1018751"/>
                  </a:lnTo>
                  <a:cubicBezTo>
                    <a:pt x="296669" y="923593"/>
                    <a:pt x="310663" y="848027"/>
                    <a:pt x="291072" y="733277"/>
                  </a:cubicBezTo>
                  <a:cubicBezTo>
                    <a:pt x="216438" y="535497"/>
                    <a:pt x="97024" y="360108"/>
                    <a:pt x="0" y="173524"/>
                  </a:cubicBezTo>
                  <a:lnTo>
                    <a:pt x="50378" y="128744"/>
                  </a:lnTo>
                  <a:lnTo>
                    <a:pt x="184719" y="302267"/>
                  </a:lnTo>
                  <a:cubicBezTo>
                    <a:pt x="221103" y="285474"/>
                    <a:pt x="240694" y="327456"/>
                    <a:pt x="293870" y="251889"/>
                  </a:cubicBezTo>
                  <a:cubicBezTo>
                    <a:pt x="294803" y="181920"/>
                    <a:pt x="298535" y="109152"/>
                    <a:pt x="299468" y="39183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A4DA484-CF60-4174-6566-4A64752EE620}"/>
              </a:ext>
            </a:extLst>
          </p:cNvPr>
          <p:cNvGrpSpPr/>
          <p:nvPr/>
        </p:nvGrpSpPr>
        <p:grpSpPr>
          <a:xfrm>
            <a:off x="9604983" y="4948307"/>
            <a:ext cx="1268822" cy="1252194"/>
            <a:chOff x="9790816" y="2831970"/>
            <a:chExt cx="2714189" cy="2678620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53097E6-7975-FD4D-72CC-A1B615BF59CE}"/>
                </a:ext>
              </a:extLst>
            </p:cNvPr>
            <p:cNvSpPr/>
            <p:nvPr/>
          </p:nvSpPr>
          <p:spPr>
            <a:xfrm>
              <a:off x="9790816" y="2831970"/>
              <a:ext cx="2714189" cy="1457354"/>
            </a:xfrm>
            <a:custGeom>
              <a:avLst/>
              <a:gdLst>
                <a:gd name="connsiteX0" fmla="*/ 1345230 w 2714189"/>
                <a:gd name="connsiteY0" fmla="*/ 0 h 1457354"/>
                <a:gd name="connsiteX1" fmla="*/ 1357095 w 2714189"/>
                <a:gd name="connsiteY1" fmla="*/ 909 h 1457354"/>
                <a:gd name="connsiteX2" fmla="*/ 1368959 w 2714189"/>
                <a:gd name="connsiteY2" fmla="*/ 0 h 1457354"/>
                <a:gd name="connsiteX3" fmla="*/ 1400570 w 2714189"/>
                <a:gd name="connsiteY3" fmla="*/ 4241 h 1457354"/>
                <a:gd name="connsiteX4" fmla="*/ 1403957 w 2714189"/>
                <a:gd name="connsiteY4" fmla="*/ 4500 h 1457354"/>
                <a:gd name="connsiteX5" fmla="*/ 1405870 w 2714189"/>
                <a:gd name="connsiteY5" fmla="*/ 4952 h 1457354"/>
                <a:gd name="connsiteX6" fmla="*/ 1469151 w 2714189"/>
                <a:gd name="connsiteY6" fmla="*/ 13441 h 1457354"/>
                <a:gd name="connsiteX7" fmla="*/ 1654435 w 2714189"/>
                <a:gd name="connsiteY7" fmla="*/ 176862 h 1457354"/>
                <a:gd name="connsiteX8" fmla="*/ 1655021 w 2714189"/>
                <a:gd name="connsiteY8" fmla="*/ 181288 h 1457354"/>
                <a:gd name="connsiteX9" fmla="*/ 1660058 w 2714189"/>
                <a:gd name="connsiteY9" fmla="*/ 178832 h 1457354"/>
                <a:gd name="connsiteX10" fmla="*/ 1870956 w 2714189"/>
                <a:gd name="connsiteY10" fmla="*/ 181289 h 1457354"/>
                <a:gd name="connsiteX11" fmla="*/ 2060986 w 2714189"/>
                <a:gd name="connsiteY11" fmla="*/ 459247 h 1457354"/>
                <a:gd name="connsiteX12" fmla="*/ 2052465 w 2714189"/>
                <a:gd name="connsiteY12" fmla="*/ 494004 h 1457354"/>
                <a:gd name="connsiteX13" fmla="*/ 2058094 w 2714189"/>
                <a:gd name="connsiteY13" fmla="*/ 491353 h 1457354"/>
                <a:gd name="connsiteX14" fmla="*/ 2300231 w 2714189"/>
                <a:gd name="connsiteY14" fmla="*/ 524185 h 1457354"/>
                <a:gd name="connsiteX15" fmla="*/ 2416086 w 2714189"/>
                <a:gd name="connsiteY15" fmla="*/ 853739 h 1457354"/>
                <a:gd name="connsiteX16" fmla="*/ 2401265 w 2714189"/>
                <a:gd name="connsiteY16" fmla="*/ 872514 h 1457354"/>
                <a:gd name="connsiteX17" fmla="*/ 2401442 w 2714189"/>
                <a:gd name="connsiteY17" fmla="*/ 872488 h 1457354"/>
                <a:gd name="connsiteX18" fmla="*/ 2713888 w 2714189"/>
                <a:gd name="connsiteY18" fmla="*/ 1151131 h 1457354"/>
                <a:gd name="connsiteX19" fmla="*/ 2428074 w 2714189"/>
                <a:gd name="connsiteY19" fmla="*/ 1457031 h 1457354"/>
                <a:gd name="connsiteX20" fmla="*/ 2258555 w 2714189"/>
                <a:gd name="connsiteY20" fmla="*/ 1414735 h 1457354"/>
                <a:gd name="connsiteX21" fmla="*/ 2226162 w 2714189"/>
                <a:gd name="connsiteY21" fmla="*/ 1390970 h 1457354"/>
                <a:gd name="connsiteX22" fmla="*/ 2179671 w 2714189"/>
                <a:gd name="connsiteY22" fmla="*/ 1421201 h 1457354"/>
                <a:gd name="connsiteX23" fmla="*/ 2064395 w 2714189"/>
                <a:gd name="connsiteY23" fmla="*/ 1451941 h 1457354"/>
                <a:gd name="connsiteX24" fmla="*/ 1809851 w 2714189"/>
                <a:gd name="connsiteY24" fmla="*/ 1320543 h 1457354"/>
                <a:gd name="connsiteX25" fmla="*/ 1807226 w 2714189"/>
                <a:gd name="connsiteY25" fmla="*/ 1315857 h 1457354"/>
                <a:gd name="connsiteX26" fmla="*/ 1769070 w 2714189"/>
                <a:gd name="connsiteY26" fmla="*/ 1321378 h 1457354"/>
                <a:gd name="connsiteX27" fmla="*/ 1515157 w 2714189"/>
                <a:gd name="connsiteY27" fmla="*/ 1203819 h 1457354"/>
                <a:gd name="connsiteX28" fmla="*/ 1495357 w 2714189"/>
                <a:gd name="connsiteY28" fmla="*/ 1171712 h 1457354"/>
                <a:gd name="connsiteX29" fmla="*/ 1442290 w 2714189"/>
                <a:gd name="connsiteY29" fmla="*/ 1190485 h 1457354"/>
                <a:gd name="connsiteX30" fmla="*/ 1382275 w 2714189"/>
                <a:gd name="connsiteY30" fmla="*/ 1199169 h 1457354"/>
                <a:gd name="connsiteX31" fmla="*/ 1357095 w 2714189"/>
                <a:gd name="connsiteY31" fmla="*/ 1197842 h 1457354"/>
                <a:gd name="connsiteX32" fmla="*/ 1331914 w 2714189"/>
                <a:gd name="connsiteY32" fmla="*/ 1199169 h 1457354"/>
                <a:gd name="connsiteX33" fmla="*/ 1271899 w 2714189"/>
                <a:gd name="connsiteY33" fmla="*/ 1190485 h 1457354"/>
                <a:gd name="connsiteX34" fmla="*/ 1218832 w 2714189"/>
                <a:gd name="connsiteY34" fmla="*/ 1171712 h 1457354"/>
                <a:gd name="connsiteX35" fmla="*/ 1199032 w 2714189"/>
                <a:gd name="connsiteY35" fmla="*/ 1203819 h 1457354"/>
                <a:gd name="connsiteX36" fmla="*/ 945118 w 2714189"/>
                <a:gd name="connsiteY36" fmla="*/ 1321378 h 1457354"/>
                <a:gd name="connsiteX37" fmla="*/ 906963 w 2714189"/>
                <a:gd name="connsiteY37" fmla="*/ 1315857 h 1457354"/>
                <a:gd name="connsiteX38" fmla="*/ 904338 w 2714189"/>
                <a:gd name="connsiteY38" fmla="*/ 1320543 h 1457354"/>
                <a:gd name="connsiteX39" fmla="*/ 649794 w 2714189"/>
                <a:gd name="connsiteY39" fmla="*/ 1451941 h 1457354"/>
                <a:gd name="connsiteX40" fmla="*/ 534518 w 2714189"/>
                <a:gd name="connsiteY40" fmla="*/ 1421201 h 1457354"/>
                <a:gd name="connsiteX41" fmla="*/ 488027 w 2714189"/>
                <a:gd name="connsiteY41" fmla="*/ 1390970 h 1457354"/>
                <a:gd name="connsiteX42" fmla="*/ 455634 w 2714189"/>
                <a:gd name="connsiteY42" fmla="*/ 1414735 h 1457354"/>
                <a:gd name="connsiteX43" fmla="*/ 286114 w 2714189"/>
                <a:gd name="connsiteY43" fmla="*/ 1457031 h 1457354"/>
                <a:gd name="connsiteX44" fmla="*/ 301 w 2714189"/>
                <a:gd name="connsiteY44" fmla="*/ 1151131 h 1457354"/>
                <a:gd name="connsiteX45" fmla="*/ 312747 w 2714189"/>
                <a:gd name="connsiteY45" fmla="*/ 872488 h 1457354"/>
                <a:gd name="connsiteX46" fmla="*/ 312924 w 2714189"/>
                <a:gd name="connsiteY46" fmla="*/ 872514 h 1457354"/>
                <a:gd name="connsiteX47" fmla="*/ 298104 w 2714189"/>
                <a:gd name="connsiteY47" fmla="*/ 853739 h 1457354"/>
                <a:gd name="connsiteX48" fmla="*/ 413958 w 2714189"/>
                <a:gd name="connsiteY48" fmla="*/ 524185 h 1457354"/>
                <a:gd name="connsiteX49" fmla="*/ 656094 w 2714189"/>
                <a:gd name="connsiteY49" fmla="*/ 491353 h 1457354"/>
                <a:gd name="connsiteX50" fmla="*/ 661724 w 2714189"/>
                <a:gd name="connsiteY50" fmla="*/ 494004 h 1457354"/>
                <a:gd name="connsiteX51" fmla="*/ 653203 w 2714189"/>
                <a:gd name="connsiteY51" fmla="*/ 459247 h 1457354"/>
                <a:gd name="connsiteX52" fmla="*/ 843233 w 2714189"/>
                <a:gd name="connsiteY52" fmla="*/ 181289 h 1457354"/>
                <a:gd name="connsiteX53" fmla="*/ 1054131 w 2714189"/>
                <a:gd name="connsiteY53" fmla="*/ 178832 h 1457354"/>
                <a:gd name="connsiteX54" fmla="*/ 1059168 w 2714189"/>
                <a:gd name="connsiteY54" fmla="*/ 181288 h 1457354"/>
                <a:gd name="connsiteX55" fmla="*/ 1059754 w 2714189"/>
                <a:gd name="connsiteY55" fmla="*/ 176862 h 1457354"/>
                <a:gd name="connsiteX56" fmla="*/ 1245038 w 2714189"/>
                <a:gd name="connsiteY56" fmla="*/ 13441 h 1457354"/>
                <a:gd name="connsiteX57" fmla="*/ 1308319 w 2714189"/>
                <a:gd name="connsiteY57" fmla="*/ 4952 h 1457354"/>
                <a:gd name="connsiteX58" fmla="*/ 1310232 w 2714189"/>
                <a:gd name="connsiteY58" fmla="*/ 4500 h 1457354"/>
                <a:gd name="connsiteX59" fmla="*/ 1313619 w 2714189"/>
                <a:gd name="connsiteY59" fmla="*/ 4241 h 145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714189" h="1457354">
                  <a:moveTo>
                    <a:pt x="1345230" y="0"/>
                  </a:moveTo>
                  <a:lnTo>
                    <a:pt x="1357095" y="909"/>
                  </a:lnTo>
                  <a:lnTo>
                    <a:pt x="1368959" y="0"/>
                  </a:lnTo>
                  <a:lnTo>
                    <a:pt x="1400570" y="4241"/>
                  </a:lnTo>
                  <a:lnTo>
                    <a:pt x="1403957" y="4500"/>
                  </a:lnTo>
                  <a:lnTo>
                    <a:pt x="1405870" y="4952"/>
                  </a:lnTo>
                  <a:lnTo>
                    <a:pt x="1469151" y="13441"/>
                  </a:lnTo>
                  <a:cubicBezTo>
                    <a:pt x="1562875" y="39527"/>
                    <a:pt x="1634056" y="101161"/>
                    <a:pt x="1654435" y="176862"/>
                  </a:cubicBezTo>
                  <a:lnTo>
                    <a:pt x="1655021" y="181288"/>
                  </a:lnTo>
                  <a:lnTo>
                    <a:pt x="1660058" y="178832"/>
                  </a:lnTo>
                  <a:cubicBezTo>
                    <a:pt x="1723025" y="155293"/>
                    <a:pt x="1798299" y="154252"/>
                    <a:pt x="1870956" y="181289"/>
                  </a:cubicBezTo>
                  <a:cubicBezTo>
                    <a:pt x="1998106" y="228604"/>
                    <a:pt x="2075110" y="346229"/>
                    <a:pt x="2060986" y="459247"/>
                  </a:cubicBezTo>
                  <a:lnTo>
                    <a:pt x="2052465" y="494004"/>
                  </a:lnTo>
                  <a:lnTo>
                    <a:pt x="2058094" y="491353"/>
                  </a:lnTo>
                  <a:cubicBezTo>
                    <a:pt x="2130173" y="466201"/>
                    <a:pt x="2220543" y="475774"/>
                    <a:pt x="2300231" y="524185"/>
                  </a:cubicBezTo>
                  <a:cubicBezTo>
                    <a:pt x="2427731" y="601641"/>
                    <a:pt x="2479600" y="749188"/>
                    <a:pt x="2416086" y="853739"/>
                  </a:cubicBezTo>
                  <a:lnTo>
                    <a:pt x="2401265" y="872514"/>
                  </a:lnTo>
                  <a:lnTo>
                    <a:pt x="2401442" y="872488"/>
                  </a:lnTo>
                  <a:cubicBezTo>
                    <a:pt x="2566647" y="864961"/>
                    <a:pt x="2706533" y="989714"/>
                    <a:pt x="2713888" y="1151131"/>
                  </a:cubicBezTo>
                  <a:cubicBezTo>
                    <a:pt x="2721242" y="1312548"/>
                    <a:pt x="2593279" y="1449504"/>
                    <a:pt x="2428074" y="1457031"/>
                  </a:cubicBezTo>
                  <a:cubicBezTo>
                    <a:pt x="2366123" y="1459853"/>
                    <a:pt x="2307732" y="1444074"/>
                    <a:pt x="2258555" y="1414735"/>
                  </a:cubicBezTo>
                  <a:lnTo>
                    <a:pt x="2226162" y="1390970"/>
                  </a:lnTo>
                  <a:lnTo>
                    <a:pt x="2179671" y="1421201"/>
                  </a:lnTo>
                  <a:cubicBezTo>
                    <a:pt x="2144630" y="1439210"/>
                    <a:pt x="2105696" y="1450059"/>
                    <a:pt x="2064395" y="1451941"/>
                  </a:cubicBezTo>
                  <a:cubicBezTo>
                    <a:pt x="1961143" y="1456645"/>
                    <a:pt x="1867529" y="1404188"/>
                    <a:pt x="1809851" y="1320543"/>
                  </a:cubicBezTo>
                  <a:lnTo>
                    <a:pt x="1807226" y="1315857"/>
                  </a:lnTo>
                  <a:lnTo>
                    <a:pt x="1769070" y="1321378"/>
                  </a:lnTo>
                  <a:cubicBezTo>
                    <a:pt x="1665818" y="1326083"/>
                    <a:pt x="1572455" y="1279115"/>
                    <a:pt x="1515157" y="1203819"/>
                  </a:cubicBezTo>
                  <a:lnTo>
                    <a:pt x="1495357" y="1171712"/>
                  </a:lnTo>
                  <a:lnTo>
                    <a:pt x="1442290" y="1190485"/>
                  </a:lnTo>
                  <a:cubicBezTo>
                    <a:pt x="1422994" y="1195265"/>
                    <a:pt x="1402926" y="1198228"/>
                    <a:pt x="1382275" y="1199169"/>
                  </a:cubicBezTo>
                  <a:lnTo>
                    <a:pt x="1357095" y="1197842"/>
                  </a:lnTo>
                  <a:lnTo>
                    <a:pt x="1331914" y="1199169"/>
                  </a:lnTo>
                  <a:cubicBezTo>
                    <a:pt x="1311263" y="1198228"/>
                    <a:pt x="1291195" y="1195265"/>
                    <a:pt x="1271899" y="1190485"/>
                  </a:cubicBezTo>
                  <a:lnTo>
                    <a:pt x="1218832" y="1171712"/>
                  </a:lnTo>
                  <a:lnTo>
                    <a:pt x="1199032" y="1203819"/>
                  </a:lnTo>
                  <a:cubicBezTo>
                    <a:pt x="1141734" y="1279115"/>
                    <a:pt x="1048371" y="1326083"/>
                    <a:pt x="945118" y="1321378"/>
                  </a:cubicBezTo>
                  <a:lnTo>
                    <a:pt x="906963" y="1315857"/>
                  </a:lnTo>
                  <a:lnTo>
                    <a:pt x="904338" y="1320543"/>
                  </a:lnTo>
                  <a:cubicBezTo>
                    <a:pt x="846660" y="1404188"/>
                    <a:pt x="753046" y="1456645"/>
                    <a:pt x="649794" y="1451941"/>
                  </a:cubicBezTo>
                  <a:cubicBezTo>
                    <a:pt x="608493" y="1450059"/>
                    <a:pt x="569559" y="1439210"/>
                    <a:pt x="534518" y="1421201"/>
                  </a:cubicBezTo>
                  <a:lnTo>
                    <a:pt x="488027" y="1390970"/>
                  </a:lnTo>
                  <a:lnTo>
                    <a:pt x="455634" y="1414735"/>
                  </a:lnTo>
                  <a:cubicBezTo>
                    <a:pt x="406457" y="1444074"/>
                    <a:pt x="348066" y="1459853"/>
                    <a:pt x="286114" y="1457031"/>
                  </a:cubicBezTo>
                  <a:cubicBezTo>
                    <a:pt x="120910" y="1449504"/>
                    <a:pt x="-7053" y="1312548"/>
                    <a:pt x="301" y="1151131"/>
                  </a:cubicBezTo>
                  <a:cubicBezTo>
                    <a:pt x="7656" y="989714"/>
                    <a:pt x="147542" y="864961"/>
                    <a:pt x="312747" y="872488"/>
                  </a:cubicBezTo>
                  <a:lnTo>
                    <a:pt x="312924" y="872514"/>
                  </a:lnTo>
                  <a:lnTo>
                    <a:pt x="298104" y="853739"/>
                  </a:lnTo>
                  <a:cubicBezTo>
                    <a:pt x="234588" y="749188"/>
                    <a:pt x="286458" y="601641"/>
                    <a:pt x="413958" y="524185"/>
                  </a:cubicBezTo>
                  <a:cubicBezTo>
                    <a:pt x="493646" y="475774"/>
                    <a:pt x="584016" y="466201"/>
                    <a:pt x="656094" y="491353"/>
                  </a:cubicBezTo>
                  <a:lnTo>
                    <a:pt x="661724" y="494004"/>
                  </a:lnTo>
                  <a:lnTo>
                    <a:pt x="653203" y="459247"/>
                  </a:lnTo>
                  <a:cubicBezTo>
                    <a:pt x="639079" y="346229"/>
                    <a:pt x="716083" y="228604"/>
                    <a:pt x="843233" y="181289"/>
                  </a:cubicBezTo>
                  <a:cubicBezTo>
                    <a:pt x="915890" y="154252"/>
                    <a:pt x="991164" y="155293"/>
                    <a:pt x="1054131" y="178832"/>
                  </a:cubicBezTo>
                  <a:lnTo>
                    <a:pt x="1059168" y="181288"/>
                  </a:lnTo>
                  <a:lnTo>
                    <a:pt x="1059754" y="176862"/>
                  </a:lnTo>
                  <a:cubicBezTo>
                    <a:pt x="1080133" y="101161"/>
                    <a:pt x="1151314" y="39527"/>
                    <a:pt x="1245038" y="13441"/>
                  </a:cubicBezTo>
                  <a:lnTo>
                    <a:pt x="1308319" y="4952"/>
                  </a:lnTo>
                  <a:lnTo>
                    <a:pt x="1310232" y="4500"/>
                  </a:lnTo>
                  <a:lnTo>
                    <a:pt x="1313619" y="424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1ED1EA4-19B6-D5B2-10D9-9B3C36C0E418}"/>
                </a:ext>
              </a:extLst>
            </p:cNvPr>
            <p:cNvSpPr/>
            <p:nvPr/>
          </p:nvSpPr>
          <p:spPr>
            <a:xfrm>
              <a:off x="10733693" y="4094414"/>
              <a:ext cx="841110" cy="1416176"/>
            </a:xfrm>
            <a:custGeom>
              <a:avLst/>
              <a:gdLst>
                <a:gd name="connsiteX0" fmla="*/ 335852 w 841110"/>
                <a:gd name="connsiteY0" fmla="*/ 0 h 1416176"/>
                <a:gd name="connsiteX1" fmla="*/ 420555 w 841110"/>
                <a:gd name="connsiteY1" fmla="*/ 19126 h 1416176"/>
                <a:gd name="connsiteX2" fmla="*/ 505258 w 841110"/>
                <a:gd name="connsiteY2" fmla="*/ 0 h 1416176"/>
                <a:gd name="connsiteX3" fmla="*/ 541642 w 841110"/>
                <a:gd name="connsiteY3" fmla="*/ 39183 h 1416176"/>
                <a:gd name="connsiteX4" fmla="*/ 547240 w 841110"/>
                <a:gd name="connsiteY4" fmla="*/ 251889 h 1416176"/>
                <a:gd name="connsiteX5" fmla="*/ 656391 w 841110"/>
                <a:gd name="connsiteY5" fmla="*/ 302267 h 1416176"/>
                <a:gd name="connsiteX6" fmla="*/ 790732 w 841110"/>
                <a:gd name="connsiteY6" fmla="*/ 128744 h 1416176"/>
                <a:gd name="connsiteX7" fmla="*/ 841110 w 841110"/>
                <a:gd name="connsiteY7" fmla="*/ 173524 h 1416176"/>
                <a:gd name="connsiteX8" fmla="*/ 550038 w 841110"/>
                <a:gd name="connsiteY8" fmla="*/ 733277 h 1416176"/>
                <a:gd name="connsiteX9" fmla="*/ 541642 w 841110"/>
                <a:gd name="connsiteY9" fmla="*/ 1018751 h 1416176"/>
                <a:gd name="connsiteX10" fmla="*/ 547240 w 841110"/>
                <a:gd name="connsiteY10" fmla="*/ 1343408 h 1416176"/>
                <a:gd name="connsiteX11" fmla="*/ 572428 w 841110"/>
                <a:gd name="connsiteY11" fmla="*/ 1410579 h 1416176"/>
                <a:gd name="connsiteX12" fmla="*/ 431006 w 841110"/>
                <a:gd name="connsiteY12" fmla="*/ 1415455 h 1416176"/>
                <a:gd name="connsiteX13" fmla="*/ 431010 w 841110"/>
                <a:gd name="connsiteY13" fmla="*/ 1416176 h 1416176"/>
                <a:gd name="connsiteX14" fmla="*/ 420555 w 841110"/>
                <a:gd name="connsiteY14" fmla="*/ 1415816 h 1416176"/>
                <a:gd name="connsiteX15" fmla="*/ 410100 w 841110"/>
                <a:gd name="connsiteY15" fmla="*/ 1416176 h 1416176"/>
                <a:gd name="connsiteX16" fmla="*/ 410104 w 841110"/>
                <a:gd name="connsiteY16" fmla="*/ 1415455 h 1416176"/>
                <a:gd name="connsiteX17" fmla="*/ 268682 w 841110"/>
                <a:gd name="connsiteY17" fmla="*/ 1410579 h 1416176"/>
                <a:gd name="connsiteX18" fmla="*/ 293870 w 841110"/>
                <a:gd name="connsiteY18" fmla="*/ 1343408 h 1416176"/>
                <a:gd name="connsiteX19" fmla="*/ 299468 w 841110"/>
                <a:gd name="connsiteY19" fmla="*/ 1018751 h 1416176"/>
                <a:gd name="connsiteX20" fmla="*/ 291072 w 841110"/>
                <a:gd name="connsiteY20" fmla="*/ 733277 h 1416176"/>
                <a:gd name="connsiteX21" fmla="*/ 0 w 841110"/>
                <a:gd name="connsiteY21" fmla="*/ 173524 h 1416176"/>
                <a:gd name="connsiteX22" fmla="*/ 50378 w 841110"/>
                <a:gd name="connsiteY22" fmla="*/ 128744 h 1416176"/>
                <a:gd name="connsiteX23" fmla="*/ 184719 w 841110"/>
                <a:gd name="connsiteY23" fmla="*/ 302267 h 1416176"/>
                <a:gd name="connsiteX24" fmla="*/ 293870 w 841110"/>
                <a:gd name="connsiteY24" fmla="*/ 251889 h 1416176"/>
                <a:gd name="connsiteX25" fmla="*/ 299468 w 841110"/>
                <a:gd name="connsiteY25" fmla="*/ 39183 h 1416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41110" h="1416176">
                  <a:moveTo>
                    <a:pt x="335852" y="0"/>
                  </a:moveTo>
                  <a:lnTo>
                    <a:pt x="420555" y="19126"/>
                  </a:lnTo>
                  <a:lnTo>
                    <a:pt x="505258" y="0"/>
                  </a:lnTo>
                  <a:lnTo>
                    <a:pt x="541642" y="39183"/>
                  </a:lnTo>
                  <a:cubicBezTo>
                    <a:pt x="542575" y="109152"/>
                    <a:pt x="546307" y="181920"/>
                    <a:pt x="547240" y="251889"/>
                  </a:cubicBezTo>
                  <a:cubicBezTo>
                    <a:pt x="600416" y="327456"/>
                    <a:pt x="620007" y="285474"/>
                    <a:pt x="656391" y="302267"/>
                  </a:cubicBezTo>
                  <a:lnTo>
                    <a:pt x="790732" y="128744"/>
                  </a:lnTo>
                  <a:lnTo>
                    <a:pt x="841110" y="173524"/>
                  </a:lnTo>
                  <a:cubicBezTo>
                    <a:pt x="744086" y="360108"/>
                    <a:pt x="624672" y="535497"/>
                    <a:pt x="550038" y="733277"/>
                  </a:cubicBezTo>
                  <a:cubicBezTo>
                    <a:pt x="530447" y="848027"/>
                    <a:pt x="544441" y="923593"/>
                    <a:pt x="541642" y="1018751"/>
                  </a:cubicBezTo>
                  <a:lnTo>
                    <a:pt x="547240" y="1343408"/>
                  </a:lnTo>
                  <a:lnTo>
                    <a:pt x="572428" y="1410579"/>
                  </a:lnTo>
                  <a:lnTo>
                    <a:pt x="431006" y="1415455"/>
                  </a:lnTo>
                  <a:lnTo>
                    <a:pt x="431010" y="1416176"/>
                  </a:lnTo>
                  <a:lnTo>
                    <a:pt x="420555" y="1415816"/>
                  </a:lnTo>
                  <a:lnTo>
                    <a:pt x="410100" y="1416176"/>
                  </a:lnTo>
                  <a:lnTo>
                    <a:pt x="410104" y="1415455"/>
                  </a:lnTo>
                  <a:lnTo>
                    <a:pt x="268682" y="1410579"/>
                  </a:lnTo>
                  <a:lnTo>
                    <a:pt x="293870" y="1343408"/>
                  </a:lnTo>
                  <a:lnTo>
                    <a:pt x="299468" y="1018751"/>
                  </a:lnTo>
                  <a:cubicBezTo>
                    <a:pt x="296669" y="923593"/>
                    <a:pt x="310663" y="848027"/>
                    <a:pt x="291072" y="733277"/>
                  </a:cubicBezTo>
                  <a:cubicBezTo>
                    <a:pt x="216438" y="535497"/>
                    <a:pt x="97024" y="360108"/>
                    <a:pt x="0" y="173524"/>
                  </a:cubicBezTo>
                  <a:lnTo>
                    <a:pt x="50378" y="128744"/>
                  </a:lnTo>
                  <a:lnTo>
                    <a:pt x="184719" y="302267"/>
                  </a:lnTo>
                  <a:cubicBezTo>
                    <a:pt x="221103" y="285474"/>
                    <a:pt x="240694" y="327456"/>
                    <a:pt x="293870" y="251889"/>
                  </a:cubicBezTo>
                  <a:cubicBezTo>
                    <a:pt x="294803" y="181920"/>
                    <a:pt x="298535" y="109152"/>
                    <a:pt x="299468" y="39183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B035AC2-4B9C-E397-B24C-4A4B3CCE27A8}"/>
              </a:ext>
            </a:extLst>
          </p:cNvPr>
          <p:cNvGrpSpPr/>
          <p:nvPr/>
        </p:nvGrpSpPr>
        <p:grpSpPr>
          <a:xfrm>
            <a:off x="10783963" y="5620384"/>
            <a:ext cx="674282" cy="612839"/>
            <a:chOff x="3901708" y="610042"/>
            <a:chExt cx="1805294" cy="1640789"/>
          </a:xfrm>
        </p:grpSpPr>
        <p:sp>
          <p:nvSpPr>
            <p:cNvPr id="45" name="Cube 44">
              <a:extLst>
                <a:ext uri="{FF2B5EF4-FFF2-40B4-BE49-F238E27FC236}">
                  <a16:creationId xmlns:a16="http://schemas.microsoft.com/office/drawing/2014/main" id="{707B0BF3-DE5E-6B6C-AC70-EA3070529068}"/>
                </a:ext>
              </a:extLst>
            </p:cNvPr>
            <p:cNvSpPr/>
            <p:nvPr/>
          </p:nvSpPr>
          <p:spPr>
            <a:xfrm>
              <a:off x="3901708" y="776353"/>
              <a:ext cx="1805294" cy="1474478"/>
            </a:xfrm>
            <a:prstGeom prst="cube">
              <a:avLst>
                <a:gd name="adj" fmla="val 44812"/>
              </a:avLst>
            </a:prstGeom>
            <a:solidFill>
              <a:schemeClr val="accent2">
                <a:lumMod val="50000"/>
              </a:schemeClr>
            </a:solidFill>
            <a:ln w="38100">
              <a:solidFill>
                <a:srgbClr val="451C0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5E19410-5A4E-DC56-A38C-70EFF8DE6DFD}"/>
                </a:ext>
              </a:extLst>
            </p:cNvPr>
            <p:cNvSpPr/>
            <p:nvPr/>
          </p:nvSpPr>
          <p:spPr>
            <a:xfrm rot="20980975">
              <a:off x="4390312" y="610042"/>
              <a:ext cx="828077" cy="974911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76200">
              <a:solidFill>
                <a:schemeClr val="accent6">
                  <a:lumMod val="50000"/>
                </a:schemeClr>
              </a:solidFill>
            </a:ln>
            <a:scene3d>
              <a:camera prst="isometricOffAxis2Top"/>
              <a:lightRig rig="threePt" dir="t"/>
            </a:scene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73F5CAA-3BD0-816B-B0C5-7B7216AF006E}"/>
              </a:ext>
            </a:extLst>
          </p:cNvPr>
          <p:cNvGrpSpPr/>
          <p:nvPr/>
        </p:nvGrpSpPr>
        <p:grpSpPr>
          <a:xfrm>
            <a:off x="591062" y="674854"/>
            <a:ext cx="2767495" cy="1082388"/>
            <a:chOff x="1204520" y="1929481"/>
            <a:chExt cx="3403383" cy="133108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BBCA5DD-6F7A-3E72-72C5-DA4A1ECF2570}"/>
                </a:ext>
              </a:extLst>
            </p:cNvPr>
            <p:cNvSpPr txBox="1"/>
            <p:nvPr/>
          </p:nvSpPr>
          <p:spPr>
            <a:xfrm>
              <a:off x="2675751" y="2133360"/>
              <a:ext cx="193215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Connected</a:t>
              </a:r>
              <a:r>
                <a:rPr lang="fr-FR" dirty="0"/>
                <a:t> </a:t>
              </a:r>
              <a:r>
                <a:rPr lang="fr-FR" dirty="0" err="1"/>
                <a:t>gardens</a:t>
              </a:r>
              <a:endParaRPr lang="fr-FR" dirty="0"/>
            </a:p>
            <a:p>
              <a:r>
                <a:rPr lang="fr-FR" dirty="0"/>
                <a:t>in the </a:t>
              </a:r>
              <a:r>
                <a:rPr lang="fr-FR" dirty="0" err="1"/>
                <a:t>cities</a:t>
              </a:r>
              <a:endParaRPr lang="fr-FR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17C3E4D-D6C4-9B4B-BF07-45959EF540CE}"/>
                </a:ext>
              </a:extLst>
            </p:cNvPr>
            <p:cNvSpPr/>
            <p:nvPr/>
          </p:nvSpPr>
          <p:spPr>
            <a:xfrm>
              <a:off x="1204520" y="1929481"/>
              <a:ext cx="1331088" cy="1331088"/>
            </a:xfrm>
            <a:custGeom>
              <a:avLst/>
              <a:gdLst/>
              <a:ahLst/>
              <a:cxnLst/>
              <a:rect l="l" t="t" r="r" b="b"/>
              <a:pathLst>
                <a:path w="1331088" h="1331088">
                  <a:moveTo>
                    <a:pt x="665544" y="0"/>
                  </a:moveTo>
                  <a:cubicBezTo>
                    <a:pt x="1033114" y="0"/>
                    <a:pt x="1331088" y="297974"/>
                    <a:pt x="1331088" y="665544"/>
                  </a:cubicBezTo>
                  <a:cubicBezTo>
                    <a:pt x="1331088" y="895276"/>
                    <a:pt x="1214692" y="1097821"/>
                    <a:pt x="1037656" y="1217424"/>
                  </a:cubicBezTo>
                  <a:lnTo>
                    <a:pt x="969846" y="1254230"/>
                  </a:lnTo>
                  <a:lnTo>
                    <a:pt x="969846" y="290791"/>
                  </a:lnTo>
                  <a:lnTo>
                    <a:pt x="754194" y="290791"/>
                  </a:lnTo>
                  <a:cubicBezTo>
                    <a:pt x="730803" y="321598"/>
                    <a:pt x="704132" y="349981"/>
                    <a:pt x="674180" y="375939"/>
                  </a:cubicBezTo>
                  <a:cubicBezTo>
                    <a:pt x="644228" y="401897"/>
                    <a:pt x="609427" y="424575"/>
                    <a:pt x="569777" y="443972"/>
                  </a:cubicBezTo>
                  <a:cubicBezTo>
                    <a:pt x="530127" y="463369"/>
                    <a:pt x="484058" y="478773"/>
                    <a:pt x="431572" y="490183"/>
                  </a:cubicBezTo>
                  <a:lnTo>
                    <a:pt x="431572" y="700701"/>
                  </a:lnTo>
                  <a:cubicBezTo>
                    <a:pt x="483488" y="693284"/>
                    <a:pt x="528415" y="682302"/>
                    <a:pt x="566354" y="667754"/>
                  </a:cubicBezTo>
                  <a:cubicBezTo>
                    <a:pt x="604293" y="653206"/>
                    <a:pt x="636669" y="636376"/>
                    <a:pt x="663483" y="617264"/>
                  </a:cubicBezTo>
                  <a:cubicBezTo>
                    <a:pt x="690297" y="598152"/>
                    <a:pt x="712832" y="578042"/>
                    <a:pt x="731088" y="556933"/>
                  </a:cubicBezTo>
                  <a:lnTo>
                    <a:pt x="731088" y="1324481"/>
                  </a:lnTo>
                  <a:lnTo>
                    <a:pt x="665544" y="1331088"/>
                  </a:lnTo>
                  <a:cubicBezTo>
                    <a:pt x="297974" y="1331088"/>
                    <a:pt x="0" y="1033114"/>
                    <a:pt x="0" y="665544"/>
                  </a:cubicBezTo>
                  <a:cubicBezTo>
                    <a:pt x="0" y="297974"/>
                    <a:pt x="297974" y="0"/>
                    <a:pt x="665544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704705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RETCH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2C09DDC511E649A1FE8EAB55EA1B2C" ma:contentTypeVersion="16" ma:contentTypeDescription="Crée un document." ma:contentTypeScope="" ma:versionID="0a45ad3457c5e97cdf2d6bf57bc1c1a9">
  <xsd:schema xmlns:xsd="http://www.w3.org/2001/XMLSchema" xmlns:xs="http://www.w3.org/2001/XMLSchema" xmlns:p="http://schemas.microsoft.com/office/2006/metadata/properties" xmlns:ns3="88b20830-6b71-4ede-ac83-82fbe9549951" xmlns:ns4="829191ca-15ae-4a3c-9d40-5c234d8f6a12" targetNamespace="http://schemas.microsoft.com/office/2006/metadata/properties" ma:root="true" ma:fieldsID="b0666d5bbef5f0dc6b5852dc15a15016" ns3:_="" ns4:_="">
    <xsd:import namespace="88b20830-6b71-4ede-ac83-82fbe9549951"/>
    <xsd:import namespace="829191ca-15ae-4a3c-9d40-5c234d8f6a1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_activity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b20830-6b71-4ede-ac83-82fbe95499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9191ca-15ae-4a3c-9d40-5c234d8f6a1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88b20830-6b71-4ede-ac83-82fbe9549951" xsi:nil="true"/>
  </documentManagement>
</p:properties>
</file>

<file path=customXml/itemProps1.xml><?xml version="1.0" encoding="utf-8"?>
<ds:datastoreItem xmlns:ds="http://schemas.openxmlformats.org/officeDocument/2006/customXml" ds:itemID="{6046BA01-CB83-4C5E-A753-5934C8A520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8b20830-6b71-4ede-ac83-82fbe9549951"/>
    <ds:schemaRef ds:uri="829191ca-15ae-4a3c-9d40-5c234d8f6a1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B53CE34-343E-4BB4-AC7B-E083EBF0370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A25D0AD-8FF7-4ACF-818F-D3559A79C83A}">
  <ds:schemaRefs>
    <ds:schemaRef ds:uri="http://purl.org/dc/elements/1.1/"/>
    <ds:schemaRef ds:uri="http://schemas.microsoft.com/office/2006/metadata/properties"/>
    <ds:schemaRef ds:uri="88b20830-6b71-4ede-ac83-82fbe954995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829191ca-15ae-4a3c-9d40-5c234d8f6a12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2</Words>
  <Application>Microsoft Office PowerPoint</Application>
  <PresentationFormat>Widescreen</PresentationFormat>
  <Paragraphs>141</Paragraphs>
  <Slides>22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Google Sans</vt:lpstr>
      <vt:lpstr>Aptos</vt:lpstr>
      <vt:lpstr>Aptos Display</vt:lpstr>
      <vt:lpstr>Arial</vt:lpstr>
      <vt:lpstr>Segoe UI Variable Display Semib</vt:lpstr>
      <vt:lpstr>TKTypeMedium</vt:lpstr>
      <vt:lpstr>Wingdings</vt:lpstr>
      <vt:lpstr>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Introdu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oland Sosin</dc:creator>
  <cp:lastModifiedBy>Roland Sosin</cp:lastModifiedBy>
  <cp:revision>16</cp:revision>
  <dcterms:created xsi:type="dcterms:W3CDTF">2025-05-17T06:21:09Z</dcterms:created>
  <dcterms:modified xsi:type="dcterms:W3CDTF">2025-05-17T12:4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2C09DDC511E649A1FE8EAB55EA1B2C</vt:lpwstr>
  </property>
</Properties>
</file>